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569.xml" ContentType="application/vnd.openxmlformats-officedocument.presentationml.tags+xml"/>
  <Override PartName="/ppt/tags/tag424.xml" ContentType="application/vnd.openxmlformats-officedocument.presentationml.tags+xml"/>
  <Override PartName="/ppt/tags/tag471.xml" ContentType="application/vnd.openxmlformats-officedocument.presentationml.tags+xml"/>
  <Override PartName="/ppt/slideLayouts/slideLayout46.xml" ContentType="application/vnd.openxmlformats-officedocument.presentationml.slideLayout+xml"/>
  <Override PartName="/ppt/tags/tag610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Override PartName="/ppt/tags/tag547.xml" ContentType="application/vnd.openxmlformats-officedocument.presentationml.tags+xml"/>
  <Override PartName="/ppt/tags/tag594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24.xml" ContentType="application/vnd.openxmlformats-officedocument.presentationml.slideLayout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52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572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550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626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heme/theme10.xml" ContentType="application/vnd.openxmlformats-officedocument.theme+xml"/>
  <Override PartName="/ppt/tags/tag465.xml" ContentType="application/vnd.openxmlformats-officedocument.presentationml.tags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Layouts/slideLayout18.xml" ContentType="application/vnd.openxmlformats-officedocument.presentationml.slideLayout+xml"/>
  <Override PartName="/ppt/tags/tag443.xml" ContentType="application/vnd.openxmlformats-officedocument.presentationml.tags+xml"/>
  <Override PartName="/ppt/tags/tag490.xml" ContentType="application/vnd.openxmlformats-officedocument.presentationml.tags+xml"/>
  <Override PartName="/ppt/slideLayouts/slideLayout65.xml" ContentType="application/vnd.openxmlformats-officedocument.presentationml.slideLayout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slideLayouts/slideLayout43.xml" ContentType="application/vnd.openxmlformats-officedocument.presentationml.slideLayout+xml"/>
  <Override PartName="/ppt/tags/tag519.xml" ContentType="application/vnd.openxmlformats-officedocument.presentationml.tags+xml"/>
  <Override PartName="/ppt/tags/tag566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544.xml" ContentType="application/vnd.openxmlformats-officedocument.presentationml.tags+xml"/>
  <Override PartName="/ppt/tags/tag591.xml" ContentType="application/vnd.openxmlformats-officedocument.presentationml.tags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slideLayouts/slideLayout21.xml" ContentType="application/vnd.openxmlformats-officedocument.presentationml.slideLayout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522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500.xml" ContentType="application/vnd.openxmlformats-officedocument.presentationml.tags+xml"/>
  <Override PartName="/ppt/slideMasters/slideMaster5.xml" ContentType="application/vnd.openxmlformats-officedocument.presentationml.slideMaster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437.xml" ContentType="application/vnd.openxmlformats-officedocument.presentationml.tags+xml"/>
  <Override PartName="/ppt/tags/tag484.xml" ContentType="application/vnd.openxmlformats-officedocument.presentationml.tags+xml"/>
  <Override PartName="/ppt/slideLayouts/slideLayout59.xml" ContentType="application/vnd.openxmlformats-officedocument.presentationml.slideLayout+xml"/>
  <Override PartName="/ppt/tags/tag62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slideLayouts/slideLayout37.xml" ContentType="application/vnd.openxmlformats-officedocument.presentationml.slideLayout+xml"/>
  <Override PartName="/ppt/tags/tag399.xml" ContentType="application/vnd.openxmlformats-officedocument.presentationml.tags+xml"/>
  <Override PartName="/ppt/tags/tag60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440.xml" ContentType="application/vnd.openxmlformats-officedocument.presentationml.tags+xml"/>
  <Override PartName="/ppt/tags/tag538.xml" ContentType="application/vnd.openxmlformats-officedocument.presentationml.tags+xml"/>
  <Override PartName="/ppt/slideLayouts/slideLayout62.xml" ContentType="application/vnd.openxmlformats-officedocument.presentationml.slideLayout+xml"/>
  <Override PartName="/ppt/tags/tag585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16.xml" ContentType="application/vnd.openxmlformats-officedocument.presentationml.tags+xml"/>
  <Override PartName="/ppt/tags/tag563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478.xml" ContentType="application/vnd.openxmlformats-officedocument.presentationml.tags+xml"/>
  <Override PartName="/ppt/tags/tag541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tags/tag61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slideMasters/slideMaster2.xml" ContentType="application/vnd.openxmlformats-officedocument.presentationml.slideMaster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481.xml" ContentType="application/vnd.openxmlformats-officedocument.presentationml.tags+xml"/>
  <Override PartName="/ppt/tags/tag579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Layouts/slideLayout56.xml" ContentType="application/vnd.openxmlformats-officedocument.presentationml.slideLayout+xml"/>
  <Override PartName="/ppt/tags/tag620.xml" ContentType="application/vnd.openxmlformats-officedocument.presentationml.tags+xml"/>
  <Override PartName="/ppt/slideLayouts/slideLayout34.xml" ContentType="application/vnd.openxmlformats-officedocument.presentationml.slideLayout+xml"/>
  <Override PartName="/ppt/tags/tag412.xml" ContentType="application/vnd.openxmlformats-officedocument.presentationml.tags+xml"/>
  <Override PartName="/ppt/tags/tag557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tags/tag535.xml" ContentType="application/vnd.openxmlformats-officedocument.presentationml.tags+xml"/>
  <Override PartName="/ppt/tags/tag582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tags/tag560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heme/theme9.xml" ContentType="application/vnd.openxmlformats-officedocument.theme+xml"/>
  <Override PartName="/ppt/tags/tag636.xml" ContentType="application/vnd.openxmlformats-officedocument.presentationml.tags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tags/tag475.xml" ContentType="application/vnd.openxmlformats-officedocument.presentationml.tags+xml"/>
  <Override PartName="/ppt/tags/tag614.xml" ContentType="application/vnd.openxmlformats-officedocument.presentationml.tags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slideLayouts/slideLayout28.xml" ContentType="application/vnd.openxmlformats-officedocument.presentationml.slideLayout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tags/tag576.xml" ContentType="application/vnd.openxmlformats-officedocument.presentationml.tags+xml"/>
  <Override PartName="/ppt/tags/tag100.xml" ContentType="application/vnd.openxmlformats-officedocument.presentationml.tags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slideLayouts/slideLayout53.xml" ContentType="application/vnd.openxmlformats-officedocument.presentationml.slideLayout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507.xml" ContentType="application/vnd.openxmlformats-officedocument.presentationml.tags+xml"/>
  <Override PartName="/ppt/tags/tag554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slideLayouts/slideLayout31.xml" ContentType="application/vnd.openxmlformats-officedocument.presentationml.slideLayout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532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469.xml" ContentType="application/vnd.openxmlformats-officedocument.presentationml.tags+xml"/>
  <Override PartName="/ppt/theme/theme14.xml" ContentType="application/vnd.openxmlformats-officedocument.theme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tags/tag510.xml" ContentType="application/vnd.openxmlformats-officedocument.presentationml.tags+xml"/>
  <Override PartName="/ppt/tags/tag608.xml" ContentType="application/vnd.openxmlformats-officedocument.presentationml.tag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302.xml" ContentType="application/vnd.openxmlformats-officedocument.presentationml.tags+xml"/>
  <Override PartName="/ppt/tags/tag447.xml" ContentType="application/vnd.openxmlformats-officedocument.presentationml.tags+xml"/>
  <Override PartName="/ppt/tags/tag494.xml" ContentType="application/vnd.openxmlformats-officedocument.presentationml.tags+xml"/>
  <Override PartName="/ppt/slideLayouts/slideLayout69.xml" ContentType="application/vnd.openxmlformats-officedocument.presentationml.slideLayout+xml"/>
  <Override PartName="/ppt/tags/tag633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Layouts/slideLayout47.xml" ContentType="application/vnd.openxmlformats-officedocument.presentationml.slideLayout+xml"/>
  <Override PartName="/ppt/tags/tag548.xml" ContentType="application/vnd.openxmlformats-officedocument.presentationml.tags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slideLayouts/slideLayout25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slideLayouts/slideLayout72.xml" ContentType="application/vnd.openxmlformats-officedocument.presentationml.slideLayout+xml"/>
  <Override PartName="/ppt/tags/tag179.xml" ContentType="application/vnd.openxmlformats-officedocument.presentationml.tags+xml"/>
  <Override PartName="/ppt/tags/tag242.xml" ContentType="application/vnd.openxmlformats-officedocument.presentationml.tags+xml"/>
  <Override PartName="/ppt/tags/tag526.xml" ContentType="application/vnd.openxmlformats-officedocument.presentationml.tags+xml"/>
  <Override PartName="/ppt/tags/tag573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tags/tag50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551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tags/tag62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19.xml" ContentType="application/vnd.openxmlformats-officedocument.presentationml.tags+xml"/>
  <Override PartName="/ppt/tags/tag466.xml" ContentType="application/vnd.openxmlformats-officedocument.presentationml.tags+xml"/>
  <Override PartName="/ppt/theme/theme11.xml" ContentType="application/vnd.openxmlformats-officedocument.theme+xml"/>
  <Override PartName="/ppt/tags/tag605.xml" ContentType="application/vnd.openxmlformats-officedocument.presentationml.tags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Layouts/slideLayout19.xml" ContentType="application/vnd.openxmlformats-officedocument.presentationml.slideLayout+xml"/>
  <Override PartName="/ppt/tags/tag258.xml" ContentType="application/vnd.openxmlformats-officedocument.presentationml.tags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slideLayouts/slideLayout66.xml" ContentType="application/vnd.openxmlformats-officedocument.presentationml.slideLayout+xml"/>
  <Override PartName="/ppt/tags/tag589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67.xml" ContentType="application/vnd.openxmlformats-officedocument.presentationml.tags+xml"/>
  <Override PartName="/ppt/tags/tag630.xml" ContentType="application/vnd.openxmlformats-officedocument.presentationml.tags+xml"/>
  <Override PartName="/ppt/tags/tag58.xml" ContentType="application/vnd.openxmlformats-officedocument.presentationml.tags+xml"/>
  <Override PartName="/ppt/tags/tag359.xml" ContentType="application/vnd.openxmlformats-officedocument.presentationml.tags+xml"/>
  <Override PartName="/ppt/tags/tag422.xml" ContentType="application/vnd.openxmlformats-officedocument.presentationml.tags+xml"/>
  <Override PartName="/ppt/slideLayouts/slideLayout44.xml" ContentType="application/vnd.openxmlformats-officedocument.presentationml.slideLayout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slideLayouts/slideLayout22.xml" ContentType="application/vnd.openxmlformats-officedocument.presentationml.slideLayout+xml"/>
  <Override PartName="/ppt/tags/tag261.xml" ContentType="application/vnd.openxmlformats-officedocument.presentationml.tags+xml"/>
  <Override PartName="/ppt/tags/tag400.xml" ContentType="application/vnd.openxmlformats-officedocument.presentationml.tags+xml"/>
  <Override PartName="/ppt/tags/tag545.xml" ContentType="application/vnd.openxmlformats-officedocument.presentationml.tags+xml"/>
  <Override PartName="/ppt/tags/tag592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523.xml" ContentType="application/vnd.openxmlformats-officedocument.presentationml.tags+xml"/>
  <Override PartName="/ppt/tags/tag570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61.xml" ContentType="application/vnd.openxmlformats-officedocument.presentationml.tags+xml"/>
  <Override PartName="/ppt/tags/tag129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62.xml" ContentType="application/vnd.openxmlformats-officedocument.presentationml.tags+xml"/>
  <Override PartName="/ppt/slideMasters/slideMaster6.xml" ContentType="application/vnd.openxmlformats-officedocument.presentationml.slideMaster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438.xml" ContentType="application/vnd.openxmlformats-officedocument.presentationml.tags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277.xml" ContentType="application/vnd.openxmlformats-officedocument.presentationml.tags+xml"/>
  <Override PartName="/ppt/tags/tag340.xml" ContentType="application/vnd.openxmlformats-officedocument.presentationml.tags+xml"/>
  <Override PartName="/ppt/tags/tag624.xml" ContentType="application/vnd.openxmlformats-officedocument.presentationml.tags+xml"/>
  <Override PartName="/ppt/tags/tag132.xml" ContentType="application/vnd.openxmlformats-officedocument.presentationml.tags+xml"/>
  <Override PartName="/ppt/slideLayouts/slideLayout38.xml" ContentType="application/vnd.openxmlformats-officedocument.presentationml.slideLayout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539.xml" ContentType="application/vnd.openxmlformats-officedocument.presentationml.tags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slideLayouts/slideLayout16.xml" ContentType="application/vnd.openxmlformats-officedocument.presentationml.slideLayout+xml"/>
  <Override PartName="/ppt/tags/tag233.xml" ContentType="application/vnd.openxmlformats-officedocument.presentationml.tags+xml"/>
  <Override PartName="/ppt/tags/tag280.xml" ContentType="application/vnd.openxmlformats-officedocument.presentationml.tags+xml"/>
  <Override PartName="/ppt/tags/tag378.xml" ContentType="application/vnd.openxmlformats-officedocument.presentationml.tags+xml"/>
  <Override PartName="/ppt/tags/tag44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517.xml" ContentType="application/vnd.openxmlformats-officedocument.presentationml.tags+xml"/>
  <Override PartName="/ppt/tags/tag564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56.xml" ContentType="application/vnd.openxmlformats-officedocument.presentationml.tags+xml"/>
  <Override PartName="/ppt/tags/tag542.xml" ContentType="application/vnd.openxmlformats-officedocument.presentationml.tags+xml"/>
  <Override PartName="/ppt/tags/tag33.xml" ContentType="application/vnd.openxmlformats-officedocument.presentationml.tags+xml"/>
  <Override PartName="/ppt/tags/tag80.xml" ContentType="application/vnd.openxmlformats-officedocument.presentationml.tags+xml"/>
  <Override PartName="/ppt/tags/tag148.xml" ContentType="application/vnd.openxmlformats-officedocument.presentationml.tags+xml"/>
  <Override PartName="/ppt/tags/tag195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618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457.xml" ContentType="application/vnd.openxmlformats-officedocument.presentationml.tags+xml"/>
  <Override PartName="/ppt/tags/tag52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Masters/slideMaster3.xml" ContentType="application/vnd.openxmlformats-officedocument.presentationml.slideMaster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slideLayouts/slideLayout57.xml" ContentType="application/vnd.openxmlformats-officedocument.presentationml.slideLayout+xml"/>
  <Override PartName="/ppt/tags/tag621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558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Layouts/slideLayout35.xml" ContentType="application/vnd.openxmlformats-officedocument.presentationml.slideLayout+xml"/>
  <Override PartName="/ppt/tags/tag397.xml" ContentType="application/vnd.openxmlformats-officedocument.presentationml.tags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gs/tag536.xml" ContentType="application/vnd.openxmlformats-officedocument.presentationml.tags+xml"/>
  <Override PartName="/ppt/slideLayouts/slideLayout60.xml" ContentType="application/vnd.openxmlformats-officedocument.presentationml.slideLayout+xml"/>
  <Override PartName="/ppt/tags/tag583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14.xml" ContentType="application/vnd.openxmlformats-officedocument.presentationml.tags+xml"/>
  <Override PartName="/ppt/tags/tag561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637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29.xml" ContentType="application/vnd.openxmlformats-officedocument.presentationml.slideLayout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577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tags/tag50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555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tags/tag533.xml" ContentType="application/vnd.openxmlformats-officedocument.presentationml.tags+xml"/>
  <Override PartName="/ppt/tags/tag580.xml" ContentType="application/vnd.openxmlformats-officedocument.presentationml.tags+xml"/>
  <Override PartName="/ppt/tags/tag24.xml" ContentType="application/vnd.openxmlformats-officedocument.presentationml.tags+xml"/>
  <Override PartName="/ppt/slideLayouts/slideLayout10.xml" ContentType="application/vnd.openxmlformats-officedocument.presentationml.slideLayout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609.xml" ContentType="application/vnd.openxmlformats-officedocument.presentationml.tags+xml"/>
  <Override PartName="/ppt/theme/theme15.xml" ContentType="application/vnd.openxmlformats-officedocument.theme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634.xml" ContentType="application/vnd.openxmlformats-officedocument.presentationml.tags+xml"/>
  <Override PartName="/ppt/tags/tag426.xml" ContentType="application/vnd.openxmlformats-officedocument.presentationml.tags+xml"/>
  <Override PartName="/ppt/slideLayouts/slideLayout48.xml" ContentType="application/vnd.openxmlformats-officedocument.presentationml.slideLayout+xml"/>
  <Override PartName="/ppt/tags/tag473.xml" ContentType="application/vnd.openxmlformats-officedocument.presentationml.tags+xml"/>
  <Override PartName="/ppt/tags/tag612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tags/tag549.xml" ContentType="application/vnd.openxmlformats-officedocument.presentationml.tags+xml"/>
  <Override PartName="/ppt/tags/tag596.xml" ContentType="application/vnd.openxmlformats-officedocument.presentationml.tags+xml"/>
  <Override PartName="/ppt/slides/slide2.xml" ContentType="application/vnd.openxmlformats-officedocument.presentationml.slide+xml"/>
  <Override PartName="/ppt/tags/tag87.xml" ContentType="application/vnd.openxmlformats-officedocument.presentationml.tags+xml"/>
  <Override PartName="/ppt/slideLayouts/slideLayout26.xml" ContentType="application/vnd.openxmlformats-officedocument.presentationml.slideLayout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527.xml" ContentType="application/vnd.openxmlformats-officedocument.presentationml.tags+xml"/>
  <Override PartName="/ppt/tags/tag574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Layouts/slideLayout51.xml" ContentType="application/vnd.openxmlformats-officedocument.presentationml.slideLayout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505.xml" ContentType="application/vnd.openxmlformats-officedocument.presentationml.tags+xml"/>
  <Override PartName="/ppt/tags/tag552.xml" ContentType="application/vnd.openxmlformats-officedocument.presentationml.tags+xml"/>
  <Override PartName="/ppt/slideMasters/slideMaster13.xml" ContentType="application/vnd.openxmlformats-officedocument.presentationml.slideMaster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628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heme/theme12.xml" ContentType="application/vnd.openxmlformats-officedocument.theme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60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slideLayouts/slideLayout67.xml" ContentType="application/vnd.openxmlformats-officedocument.presentationml.slideLayout+xml"/>
  <Override PartName="/ppt/tags/tag631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slideLayouts/slideLayout45.xml" ContentType="application/vnd.openxmlformats-officedocument.presentationml.slideLayout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68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546.xml" ContentType="application/vnd.openxmlformats-officedocument.presentationml.tags+xml"/>
  <Override PartName="/ppt/tags/tag593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slideLayouts/slideLayout23.xml" ContentType="application/vnd.openxmlformats-officedocument.presentationml.slideLayout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slideLayouts/slideLayout70.xml" ContentType="application/vnd.openxmlformats-officedocument.presentationml.slideLayout+xml"/>
  <Override PartName="/ppt/authors.xml" ContentType="application/vnd.ms-powerpoint.author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524.xml" ContentType="application/vnd.openxmlformats-officedocument.presentationml.tags+xml"/>
  <Override PartName="/ppt/tags/tag571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502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625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slideLayouts/slideLayout39.xml" ContentType="application/vnd.openxmlformats-officedocument.presentationml.slideLayout+xml"/>
  <Override PartName="/ppt/tags/tag464.xml" ContentType="application/vnd.openxmlformats-officedocument.presentationml.tags+xml"/>
  <Override PartName="/ppt/tags/tag603.xml" ContentType="application/vnd.openxmlformats-officedocument.presentationml.tags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slideLayouts/slideLayout17.xml" ContentType="application/vnd.openxmlformats-officedocument.presentationml.slideLayout+xml"/>
  <Override PartName="/ppt/tags/tag442.xml" ContentType="application/vnd.openxmlformats-officedocument.presentationml.tags+xml"/>
  <Override PartName="/ppt/slideLayouts/slideLayout64.xml" ContentType="application/vnd.openxmlformats-officedocument.presentationml.slideLayout+xml"/>
  <Override PartName="/ppt/tags/tag587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18.xml" ContentType="application/vnd.openxmlformats-officedocument.presentationml.tags+xml"/>
  <Override PartName="/ppt/tags/tag565.xml" ContentType="application/vnd.openxmlformats-officedocument.presentationml.tags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Layouts/slideLayout42.xml" ContentType="application/vnd.openxmlformats-officedocument.presentationml.slideLayout+xml"/>
  <Override PartName="/ppt/tags/tag149.xml" ContentType="application/vnd.openxmlformats-officedocument.presentationml.tags+xml"/>
  <Override PartName="/ppt/slideLayouts/slideLayout20.xml" ContentType="application/vnd.openxmlformats-officedocument.presentationml.slideLayout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tags/tag543.xml" ContentType="application/vnd.openxmlformats-officedocument.presentationml.tags+xml"/>
  <Override PartName="/ppt/tags/tag590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521.xml" ContentType="application/vnd.openxmlformats-officedocument.presentationml.tags+xml"/>
  <Override PartName="/ppt/tags/tag619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slideLayouts/slideLayout58.xml" ContentType="application/vnd.openxmlformats-officedocument.presentationml.slideLayout+xml"/>
  <Override PartName="/ppt/tags/tag622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Layouts/slideLayout36.xml" ContentType="application/vnd.openxmlformats-officedocument.presentationml.slideLayout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tags/tag559.xml" ContentType="application/vnd.openxmlformats-officedocument.presentationml.tags+xml"/>
  <Override PartName="/ppt/tags/tag600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98.xml" ContentType="application/vnd.openxmlformats-officedocument.presentationml.tags+xml"/>
  <Override PartName="/ppt/tags/tag537.xml" ContentType="application/vnd.openxmlformats-officedocument.presentationml.tags+xml"/>
  <Override PartName="/ppt/tags/tag584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slideLayouts/slideLayout61.xml" ContentType="application/vnd.openxmlformats-officedocument.presentationml.slideLayout+xml"/>
  <Override PartName="/ppt/tags/tag168.xml" ContentType="application/vnd.openxmlformats-officedocument.presentationml.tags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562.xml" ContentType="application/vnd.openxmlformats-officedocument.presentationml.tags+xml"/>
  <Default Extension="wdp" ContentType="image/vnd.ms-photo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tags/tag540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tags/tag616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408.xml" ContentType="application/vnd.openxmlformats-officedocument.presentationml.tags+xml"/>
  <Override PartName="/ppt/tags/tag455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578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slideLayouts/slideLayout55.xml" ContentType="application/vnd.openxmlformats-officedocument.presentationml.slideLayout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411.xml" ContentType="application/vnd.openxmlformats-officedocument.presentationml.tags+xml"/>
  <Override PartName="/ppt/tags/tag509.xml" ContentType="application/vnd.openxmlformats-officedocument.presentationml.tags+xml"/>
  <Override PartName="/ppt/tags/tag556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slideLayouts/slideLayout33.xml" ContentType="application/vnd.openxmlformats-officedocument.presentationml.slideLayout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7.xml" ContentType="application/vnd.openxmlformats-officedocument.presentationml.tags+xml"/>
  <Override PartName="/ppt/tags/tag534.xml" ContentType="application/vnd.openxmlformats-officedocument.presentationml.tags+xml"/>
  <Override PartName="/ppt/tags/tag581.xml" ContentType="application/vnd.openxmlformats-officedocument.presentationml.tags+xml"/>
  <Override PartName="/ppt/theme/theme16.xml" ContentType="application/vnd.openxmlformats-officedocument.theme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tags/tag512.xml" ContentType="application/vnd.openxmlformats-officedocument.presentationml.tags+xml"/>
  <Override PartName="/ppt/tags/tag50.xml" ContentType="application/vnd.openxmlformats-officedocument.presentationml.tags+xml"/>
  <Override PartName="/ppt/tags/tag304.xml" ContentType="application/vnd.openxmlformats-officedocument.presentationml.tags+xml"/>
  <Override PartName="/ppt/theme/theme8.xml" ContentType="application/vnd.openxmlformats-officedocument.theme+xml"/>
  <Override PartName="/ppt/tags/tag351.xml" ContentType="application/vnd.openxmlformats-officedocument.presentationml.tags+xml"/>
  <Override PartName="/ppt/tags/tag449.xml" ContentType="application/vnd.openxmlformats-officedocument.presentationml.tags+xml"/>
  <Override PartName="/ppt/tags/tag496.xml" ContentType="application/vnd.openxmlformats-officedocument.presentationml.tags+xml"/>
  <Override PartName="/ppt/tags/tag635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88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Layouts/slideLayout49.xml" ContentType="application/vnd.openxmlformats-officedocument.presentationml.slideLayout+xml"/>
  <Override PartName="/ppt/tags/tag597.xml" ContentType="application/vnd.openxmlformats-officedocument.presentationml.tags+xml"/>
  <Override PartName="/ppt/tags/tag613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27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tags/tag244.xml" ContentType="application/vnd.openxmlformats-officedocument.presentationml.tags+xml"/>
  <Override PartName="/ppt/tags/tag291.xml" ContentType="application/vnd.openxmlformats-officedocument.presentationml.tags+xml"/>
  <Override PartName="/ppt/tags/tag430.xml" ContentType="application/vnd.openxmlformats-officedocument.presentationml.tags+xml"/>
  <Override PartName="/ppt/tags/tag528.xml" ContentType="application/vnd.openxmlformats-officedocument.presentationml.tags+xml"/>
  <Override PartName="/ppt/tags/tag575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Layouts/slideLayout52.xml" ContentType="application/vnd.openxmlformats-officedocument.presentationml.slideLayout+xml"/>
  <Override PartName="/ppt/tags/tag506.xml" ContentType="application/vnd.openxmlformats-officedocument.presentationml.tags+xml"/>
  <Override PartName="/ppt/tags/tag553.xml" ContentType="application/vnd.openxmlformats-officedocument.presentationml.tags+xml"/>
  <Override PartName="/ppt/slideMasters/slideMaster14.xml" ContentType="application/vnd.openxmlformats-officedocument.presentationml.slideMaster+xml"/>
  <Override PartName="/ppt/tags/tag159.xml" ContentType="application/vnd.openxmlformats-officedocument.presentationml.tags+xml"/>
  <Override PartName="/ppt/slideLayouts/slideLayout30.xml" ContentType="application/vnd.openxmlformats-officedocument.presentationml.slideLayout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tags/tag531.xml" ContentType="application/vnd.openxmlformats-officedocument.presentationml.tags+xml"/>
  <Override PartName="/ppt/tags/tag629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68.xml" ContentType="application/vnd.openxmlformats-officedocument.presentationml.tags+xml"/>
  <Override PartName="/ppt/theme/theme13.xml" ContentType="application/vnd.openxmlformats-officedocument.theme+xml"/>
  <Override PartName="/ppt/tags/tag607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slideLayouts/slideLayout68.xml" ContentType="application/vnd.openxmlformats-officedocument.presentationml.slideLayout+xml"/>
  <Override PartName="/ppt/tags/tag140.xml" ContentType="application/vnd.openxmlformats-officedocument.presentationml.tags+xml"/>
  <Override PartName="/ppt/theme/theme5.xml" ContentType="application/vnd.openxmlformats-officedocument.theme+xml"/>
  <Override PartName="/ppt/tags/tag285.xml" ContentType="application/vnd.openxmlformats-officedocument.presentationml.tags+xml"/>
  <Override PartName="/ppt/tags/tag63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90" r:id="rId1"/>
    <p:sldMasterId id="2147483695" r:id="rId2"/>
    <p:sldMasterId id="2147483733" r:id="rId3"/>
    <p:sldMasterId id="2147483803" r:id="rId4"/>
    <p:sldMasterId id="2147483807" r:id="rId5"/>
    <p:sldMasterId id="2147483811" r:id="rId6"/>
    <p:sldMasterId id="2147483819" r:id="rId7"/>
    <p:sldMasterId id="2147483824" r:id="rId8"/>
    <p:sldMasterId id="2147483829" r:id="rId9"/>
    <p:sldMasterId id="2147483834" r:id="rId10"/>
    <p:sldMasterId id="2147483839" r:id="rId11"/>
    <p:sldMasterId id="2147483843" r:id="rId12"/>
    <p:sldMasterId id="2147483865" r:id="rId13"/>
    <p:sldMasterId id="2147483880" r:id="rId14"/>
  </p:sldMasterIdLst>
  <p:notesMasterIdLst>
    <p:notesMasterId r:id="rId28"/>
  </p:notesMasterIdLst>
  <p:handoutMasterIdLst>
    <p:handoutMasterId r:id="rId29"/>
  </p:handoutMasterIdLst>
  <p:sldIdLst>
    <p:sldId id="2145707699" r:id="rId15"/>
    <p:sldId id="2145707772" r:id="rId16"/>
    <p:sldId id="2145707773" r:id="rId17"/>
    <p:sldId id="2145707775" r:id="rId18"/>
    <p:sldId id="2145707780" r:id="rId19"/>
    <p:sldId id="2145707768" r:id="rId20"/>
    <p:sldId id="2145707784" r:id="rId21"/>
    <p:sldId id="2145707685" r:id="rId22"/>
    <p:sldId id="2145707724" r:id="rId23"/>
    <p:sldId id="2145707782" r:id="rId24"/>
    <p:sldId id="2145707785" r:id="rId25"/>
    <p:sldId id="2145707769" r:id="rId26"/>
    <p:sldId id="2145707787" r:id="rId27"/>
  </p:sldIdLst>
  <p:sldSz cx="9144000" cy="5143500" type="screen16x9"/>
  <p:notesSz cx="6797675" cy="9928225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094" userDrawn="1">
          <p15:clr>
            <a:srgbClr val="A4A3A4"/>
          </p15:clr>
        </p15:guide>
        <p15:guide id="2" pos="287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4656" userDrawn="1">
          <p15:clr>
            <a:srgbClr val="A4A3A4"/>
          </p15:clr>
        </p15:guide>
        <p15:guide id="2" pos="2913" userDrawn="1">
          <p15:clr>
            <a:srgbClr val="A4A3A4"/>
          </p15:clr>
        </p15:guide>
        <p15:guide id="3" orient="horz" pos="3113" userDrawn="1">
          <p15:clr>
            <a:srgbClr val="A4A3A4"/>
          </p15:clr>
        </p15:guide>
        <p15:guide id="4" pos="213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Автор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Автор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7F8FF"/>
    <a:srgbClr val="CBF7FD"/>
    <a:srgbClr val="0070CE"/>
    <a:srgbClr val="004EA9"/>
    <a:srgbClr val="0033CC"/>
    <a:srgbClr val="D5F2FC"/>
    <a:srgbClr val="F2F2F2"/>
    <a:srgbClr val="19B861"/>
    <a:srgbClr val="12C1B0"/>
    <a:srgbClr val="E1E1E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2591" autoAdjust="0"/>
    <p:restoredTop sz="95842" autoAdjust="0"/>
  </p:normalViewPr>
  <p:slideViewPr>
    <p:cSldViewPr snapToGrid="0">
      <p:cViewPr>
        <p:scale>
          <a:sx n="80" d="100"/>
          <a:sy n="80" d="100"/>
        </p:scale>
        <p:origin x="18" y="-1062"/>
      </p:cViewPr>
      <p:guideLst>
        <p:guide orient="horz" pos="3094"/>
        <p:guide pos="28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-4014" y="-114"/>
      </p:cViewPr>
      <p:guideLst>
        <p:guide orient="horz" pos="4678"/>
        <p:guide orient="horz" pos="3128"/>
        <p:guide pos="2929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heme" Target="theme/theme1.xml"/><Relationship Id="rId42" Type="http://schemas.microsoft.com/office/2018/10/relationships/authors" Target="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81013" y="622300"/>
            <a:ext cx="7767638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7" y="5334838"/>
            <a:ext cx="5792746" cy="1238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90" y="9562306"/>
            <a:ext cx="539270" cy="170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90" y="110786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6.bin"/><Relationship Id="rId4" Type="http://schemas.openxmlformats.org/officeDocument/2006/relationships/image" Target="../media/image6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9.bin"/><Relationship Id="rId4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12.png"/><Relationship Id="rId2" Type="http://schemas.openxmlformats.org/officeDocument/2006/relationships/tags" Target="../tags/tag27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1.jpe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9.png"/><Relationship Id="rId4" Type="http://schemas.openxmlformats.org/officeDocument/2006/relationships/slideMaster" Target="../slideMasters/slideMaster6.xml"/><Relationship Id="rId9" Type="http://schemas.microsoft.com/office/2007/relationships/hdphoto" Target="../media/hdphoto1.wdp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27.vml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8.vml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31.vml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2.vml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71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35.vml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73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36.vml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2" Type="http://schemas.openxmlformats.org/officeDocument/2006/relationships/tags" Target="../tags/tag41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20.xml"/><Relationship Id="rId2" Type="http://schemas.openxmlformats.org/officeDocument/2006/relationships/tags" Target="../tags/tag419.xml"/><Relationship Id="rId1" Type="http://schemas.openxmlformats.org/officeDocument/2006/relationships/vmlDrawing" Target="../drawings/vmlDrawing39.vml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40.vml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67.xml"/><Relationship Id="rId2" Type="http://schemas.openxmlformats.org/officeDocument/2006/relationships/tags" Target="../tags/tag46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69.xml"/><Relationship Id="rId2" Type="http://schemas.openxmlformats.org/officeDocument/2006/relationships/tags" Target="../tags/tag468.xml"/><Relationship Id="rId1" Type="http://schemas.openxmlformats.org/officeDocument/2006/relationships/vmlDrawing" Target="../drawings/vmlDrawing43.vml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471.xml"/><Relationship Id="rId2" Type="http://schemas.openxmlformats.org/officeDocument/2006/relationships/tags" Target="../tags/tag470.xml"/><Relationship Id="rId1" Type="http://schemas.openxmlformats.org/officeDocument/2006/relationships/vmlDrawing" Target="../drawings/vmlDrawing44.vml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46.bin"/><Relationship Id="rId4" Type="http://schemas.openxmlformats.org/officeDocument/2006/relationships/image" Target="../media/image6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503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47.vml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0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549.xml"/><Relationship Id="rId2" Type="http://schemas.openxmlformats.org/officeDocument/2006/relationships/tags" Target="../tags/tag54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551.xml"/><Relationship Id="rId2" Type="http://schemas.openxmlformats.org/officeDocument/2006/relationships/tags" Target="../tags/tag550.xml"/><Relationship Id="rId1" Type="http://schemas.openxmlformats.org/officeDocument/2006/relationships/vmlDrawing" Target="../drawings/vmlDrawing50.vml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553.xml"/><Relationship Id="rId2" Type="http://schemas.openxmlformats.org/officeDocument/2006/relationships/tags" Target="../tags/tag552.xml"/><Relationship Id="rId1" Type="http://schemas.openxmlformats.org/officeDocument/2006/relationships/vmlDrawing" Target="../drawings/vmlDrawing51.vml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555.xml"/><Relationship Id="rId2" Type="http://schemas.openxmlformats.org/officeDocument/2006/relationships/tags" Target="../tags/tag554.xml"/><Relationship Id="rId1" Type="http://schemas.openxmlformats.org/officeDocument/2006/relationships/vmlDrawing" Target="../drawings/vmlDrawing52.vml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557.xml"/><Relationship Id="rId2" Type="http://schemas.openxmlformats.org/officeDocument/2006/relationships/tags" Target="../tags/tag556.xml"/><Relationship Id="rId1" Type="http://schemas.openxmlformats.org/officeDocument/2006/relationships/vmlDrawing" Target="../drawings/vmlDrawing53.vml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602.xml"/><Relationship Id="rId2" Type="http://schemas.openxmlformats.org/officeDocument/2006/relationships/tags" Target="../tags/tag60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604.xml"/><Relationship Id="rId2" Type="http://schemas.openxmlformats.org/officeDocument/2006/relationships/tags" Target="../tags/tag603.xml"/><Relationship Id="rId1" Type="http://schemas.openxmlformats.org/officeDocument/2006/relationships/vmlDrawing" Target="../drawings/vmlDrawing56.vml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606.xml"/><Relationship Id="rId2" Type="http://schemas.openxmlformats.org/officeDocument/2006/relationships/tags" Target="../tags/tag605.xml"/><Relationship Id="rId1" Type="http://schemas.openxmlformats.org/officeDocument/2006/relationships/vmlDrawing" Target="../drawings/vmlDrawing57.vml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608.xml"/><Relationship Id="rId2" Type="http://schemas.openxmlformats.org/officeDocument/2006/relationships/tags" Target="../tags/tag607.xml"/><Relationship Id="rId1" Type="http://schemas.openxmlformats.org/officeDocument/2006/relationships/vmlDrawing" Target="../drawings/vmlDrawing58.vml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610.xml"/><Relationship Id="rId2" Type="http://schemas.openxmlformats.org/officeDocument/2006/relationships/tags" Target="../tags/tag609.xml"/><Relationship Id="rId1" Type="http://schemas.openxmlformats.org/officeDocument/2006/relationships/vmlDrawing" Target="../drawings/vmlDrawing59.vml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308387878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2139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29680312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10331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71618028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742856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12379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2437549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13403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41476" y="497359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baseline="0" smtClean="0">
                <a:solidFill>
                  <a:schemeClr val="tx2"/>
                </a:solidFill>
                <a:latin typeface="+mn-lt"/>
              </a:rPr>
              <a:pPr/>
              <a:t>‹#›</a:t>
            </a:fld>
            <a:endParaRPr lang="ru-RU" sz="700" b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34093634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14427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47272502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8803313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52"/>
            <a:ext cx="9144000" cy="514319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128471" y="1"/>
            <a:ext cx="7017149" cy="3036356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16475" name="think-cell Slide" r:id="rId5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114802" y="4811437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12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114802" y="4905645"/>
            <a:ext cx="302919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FFFFFF"/>
                </a:solidFill>
                <a:latin typeface="+mn-lt"/>
              </a:rPr>
              <a:t>Last Modified 4/23/2019 12:00 PM Central Asia Standard Time</a:t>
            </a: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114802" y="4999854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FFFFFF"/>
                </a:solidFill>
                <a:latin typeface="+mn-lt"/>
              </a:rPr>
              <a:t>Printed 20.04.2019 13:35 Central Europe Standard Time</a:t>
            </a: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314476" y="1097666"/>
            <a:ext cx="6358614" cy="37683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314476" y="2386825"/>
            <a:ext cx="6358614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314476" y="2741311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071" baseline="0" dirty="0">
                <a:solidFill>
                  <a:schemeClr val="accent6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33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314476" y="4717292"/>
            <a:ext cx="3616660" cy="376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15881" eaLnBrk="0" hangingPunct="0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Кинзи и Компания СиАйЭс"</a:t>
            </a:r>
          </a:p>
          <a:p>
            <a:pPr defTabSz="615881" eaLnBrk="0" hangingPunct="0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pic>
        <p:nvPicPr>
          <p:cNvPr id="14" name="LogoImageNewRU">
            <a:extLst>
              <a:ext uri="{FF2B5EF4-FFF2-40B4-BE49-F238E27FC236}">
                <a16:creationId xmlns="" xmlns:a16="http://schemas.microsoft.com/office/drawing/2014/main" id="{7FC00495-E778-4AA1-9825-5CBBBAC2261E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14475" y="115285"/>
            <a:ext cx="1854493" cy="13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340440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B21114B-3C78-409F-A8B9-1CE1053EDD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17499" name="think-cell Slide" r:id="rId5" imgW="360" imgH="360" progId="">
              <p:embed/>
            </p:oleObj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66901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ru-RU" sz="612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364503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866901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250688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52"/>
            <a:ext cx="9144000" cy="514319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128471" y="1"/>
            <a:ext cx="7017149" cy="3036356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19547" name="think-cell Slide" r:id="rId5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114802" y="4811437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12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114802" y="4905645"/>
            <a:ext cx="302919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FFFFFF"/>
                </a:solidFill>
                <a:latin typeface="+mn-lt"/>
              </a:rPr>
              <a:t>Last Modified 4/23/2019 12:00 PM Central Asia Standard Time</a:t>
            </a: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114802" y="4999854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FFFFFF"/>
                </a:solidFill>
                <a:latin typeface="+mn-lt"/>
              </a:rPr>
              <a:t>Printed 20.04.2019 13:35 Central Europe Standard Time</a:t>
            </a: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314476" y="1097666"/>
            <a:ext cx="6358614" cy="37683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314476" y="2386825"/>
            <a:ext cx="6358614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314476" y="2741311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071" baseline="0" dirty="0">
                <a:solidFill>
                  <a:schemeClr val="accent6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33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314476" y="4717292"/>
            <a:ext cx="3616660" cy="376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15881" eaLnBrk="0" hangingPunct="0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Кинзи и Компания СиАйЭс"</a:t>
            </a:r>
          </a:p>
          <a:p>
            <a:pPr defTabSz="615881" eaLnBrk="0" hangingPunct="0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pic>
        <p:nvPicPr>
          <p:cNvPr id="14" name="LogoImageNewRU">
            <a:extLst>
              <a:ext uri="{FF2B5EF4-FFF2-40B4-BE49-F238E27FC236}">
                <a16:creationId xmlns="" xmlns:a16="http://schemas.microsoft.com/office/drawing/2014/main" id="{7FC00495-E778-4AA1-9825-5CBBBAC2261E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14475" y="115285"/>
            <a:ext cx="1854493" cy="13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461128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3163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7359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baseline="0" smtClean="0">
                <a:solidFill>
                  <a:schemeClr val="tx2"/>
                </a:solidFill>
                <a:latin typeface="+mn-lt"/>
              </a:rPr>
              <a:pPr/>
              <a:t>‹#›</a:t>
            </a:fld>
            <a:endParaRPr lang="ru-RU" sz="700" b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762608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B21114B-3C78-409F-A8B9-1CE1053EDD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20571" name="think-cell Slide" r:id="rId5" imgW="360" imgH="360" progId="">
              <p:embed/>
            </p:oleObj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66901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ru-RU" sz="612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3837504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866901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011093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tangle 146">
            <a:extLst>
              <a:ext uri="{FF2B5EF4-FFF2-40B4-BE49-F238E27FC236}">
                <a16:creationId xmlns="" xmlns:a16="http://schemas.microsoft.com/office/drawing/2014/main" id="{E69D222A-CA58-44D3-AEA1-CD3A3108F6B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22619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200" b="0" i="0" baseline="0" dirty="0">
              <a:solidFill>
                <a:schemeClr val="tx1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+mj-cs"/>
              <a:sym typeface="Segoe UI Light" panose="020B0502040204020203" pitchFamily="34" charset="0"/>
            </a:endParaRPr>
          </a:p>
        </p:txBody>
      </p: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278339" y="71818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0" y="718188"/>
            <a:ext cx="6427017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2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73CA892B-F534-4DCC-AE92-45E531B63B65}"/>
              </a:ext>
            </a:extLst>
          </p:cNvPr>
          <p:cNvGrpSpPr/>
          <p:nvPr userDrawn="1"/>
        </p:nvGrpSpPr>
        <p:grpSpPr>
          <a:xfrm>
            <a:off x="0" y="4072804"/>
            <a:ext cx="9144000" cy="667470"/>
            <a:chOff x="0" y="4320454"/>
            <a:chExt cx="9144000" cy="667470"/>
          </a:xfrm>
        </p:grpSpPr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53DCF7DD-07C7-43B4-9714-9882BDBA89D3}"/>
                </a:ext>
              </a:extLst>
            </p:cNvPr>
            <p:cNvSpPr/>
            <p:nvPr userDrawn="1"/>
          </p:nvSpPr>
          <p:spPr>
            <a:xfrm>
              <a:off x="0" y="4320454"/>
              <a:ext cx="1143000" cy="511895"/>
            </a:xfrm>
            <a:custGeom>
              <a:avLst/>
              <a:gdLst>
                <a:gd name="connsiteX0" fmla="*/ 1672506 w 1670455"/>
                <a:gd name="connsiteY0" fmla="*/ 705076 h 748118"/>
                <a:gd name="connsiteX1" fmla="*/ 1591955 w 1670455"/>
                <a:gd name="connsiteY1" fmla="*/ 540695 h 748118"/>
                <a:gd name="connsiteX2" fmla="*/ 1350713 w 1670455"/>
                <a:gd name="connsiteY2" fmla="*/ 681300 h 748118"/>
                <a:gd name="connsiteX3" fmla="*/ 1162863 w 1670455"/>
                <a:gd name="connsiteY3" fmla="*/ 644304 h 748118"/>
                <a:gd name="connsiteX4" fmla="*/ 1085489 w 1670455"/>
                <a:gd name="connsiteY4" fmla="*/ 712864 h 748118"/>
                <a:gd name="connsiteX5" fmla="*/ 869149 w 1670455"/>
                <a:gd name="connsiteY5" fmla="*/ 706101 h 748118"/>
                <a:gd name="connsiteX6" fmla="*/ 1024103 w 1670455"/>
                <a:gd name="connsiteY6" fmla="*/ 562113 h 748118"/>
                <a:gd name="connsiteX7" fmla="*/ 881858 w 1670455"/>
                <a:gd name="connsiteY7" fmla="*/ 432986 h 748118"/>
                <a:gd name="connsiteX8" fmla="*/ 881858 w 1670455"/>
                <a:gd name="connsiteY8" fmla="*/ 308983 h 748118"/>
                <a:gd name="connsiteX9" fmla="*/ 975116 w 1670455"/>
                <a:gd name="connsiteY9" fmla="*/ 215417 h 748118"/>
                <a:gd name="connsiteX10" fmla="*/ 1049723 w 1670455"/>
                <a:gd name="connsiteY10" fmla="*/ 279981 h 748118"/>
                <a:gd name="connsiteX11" fmla="*/ 1079853 w 1670455"/>
                <a:gd name="connsiteY11" fmla="*/ 397937 h 748118"/>
                <a:gd name="connsiteX12" fmla="*/ 990694 w 1670455"/>
                <a:gd name="connsiteY12" fmla="*/ 433704 h 748118"/>
                <a:gd name="connsiteX13" fmla="*/ 1079545 w 1670455"/>
                <a:gd name="connsiteY13" fmla="*/ 530447 h 748118"/>
                <a:gd name="connsiteX14" fmla="*/ 1194223 w 1670455"/>
                <a:gd name="connsiteY14" fmla="*/ 471622 h 748118"/>
                <a:gd name="connsiteX15" fmla="*/ 1485579 w 1670455"/>
                <a:gd name="connsiteY15" fmla="*/ 563036 h 748118"/>
                <a:gd name="connsiteX16" fmla="*/ 1257351 w 1670455"/>
                <a:gd name="connsiteY16" fmla="*/ 373137 h 748118"/>
                <a:gd name="connsiteX17" fmla="*/ 1034453 w 1670455"/>
                <a:gd name="connsiteY17" fmla="*/ 157617 h 748118"/>
                <a:gd name="connsiteX18" fmla="*/ 1318124 w 1670455"/>
                <a:gd name="connsiteY18" fmla="*/ 252516 h 748118"/>
                <a:gd name="connsiteX19" fmla="*/ 1432800 w 1670455"/>
                <a:gd name="connsiteY19" fmla="*/ 193691 h 748118"/>
                <a:gd name="connsiteX20" fmla="*/ 1521653 w 1670455"/>
                <a:gd name="connsiteY20" fmla="*/ 290434 h 748118"/>
                <a:gd name="connsiteX21" fmla="*/ 1432493 w 1670455"/>
                <a:gd name="connsiteY21" fmla="*/ 326200 h 748118"/>
                <a:gd name="connsiteX22" fmla="*/ 1462623 w 1670455"/>
                <a:gd name="connsiteY22" fmla="*/ 444157 h 748118"/>
                <a:gd name="connsiteX23" fmla="*/ 1537229 w 1670455"/>
                <a:gd name="connsiteY23" fmla="*/ 508720 h 748118"/>
                <a:gd name="connsiteX24" fmla="*/ 1630488 w 1670455"/>
                <a:gd name="connsiteY24" fmla="*/ 415154 h 748118"/>
                <a:gd name="connsiteX25" fmla="*/ 1630591 w 1670455"/>
                <a:gd name="connsiteY25" fmla="*/ 291151 h 748118"/>
                <a:gd name="connsiteX26" fmla="*/ 1488346 w 1670455"/>
                <a:gd name="connsiteY26" fmla="*/ 162024 h 748118"/>
                <a:gd name="connsiteX27" fmla="*/ 1643299 w 1670455"/>
                <a:gd name="connsiteY27" fmla="*/ 21009 h 748118"/>
                <a:gd name="connsiteX28" fmla="*/ 1426959 w 1670455"/>
                <a:gd name="connsiteY28" fmla="*/ 7686 h 748118"/>
                <a:gd name="connsiteX29" fmla="*/ 1349585 w 1670455"/>
                <a:gd name="connsiteY29" fmla="*/ 76247 h 748118"/>
                <a:gd name="connsiteX30" fmla="*/ 1161736 w 1670455"/>
                <a:gd name="connsiteY30" fmla="*/ 39251 h 748118"/>
                <a:gd name="connsiteX31" fmla="*/ 920493 w 1670455"/>
                <a:gd name="connsiteY31" fmla="*/ 179856 h 748118"/>
                <a:gd name="connsiteX32" fmla="*/ 839942 w 1670455"/>
                <a:gd name="connsiteY32" fmla="*/ 13528 h 748118"/>
                <a:gd name="connsiteX33" fmla="*/ 759392 w 1670455"/>
                <a:gd name="connsiteY33" fmla="*/ 179856 h 748118"/>
                <a:gd name="connsiteX34" fmla="*/ 518251 w 1670455"/>
                <a:gd name="connsiteY34" fmla="*/ 39251 h 748118"/>
                <a:gd name="connsiteX35" fmla="*/ 330402 w 1670455"/>
                <a:gd name="connsiteY35" fmla="*/ 76247 h 748118"/>
                <a:gd name="connsiteX36" fmla="*/ 253028 w 1670455"/>
                <a:gd name="connsiteY36" fmla="*/ 7686 h 748118"/>
                <a:gd name="connsiteX37" fmla="*/ 36689 w 1670455"/>
                <a:gd name="connsiteY37" fmla="*/ 14450 h 748118"/>
                <a:gd name="connsiteX38" fmla="*/ 191641 w 1670455"/>
                <a:gd name="connsiteY38" fmla="*/ 158437 h 748118"/>
                <a:gd name="connsiteX39" fmla="*/ 49396 w 1670455"/>
                <a:gd name="connsiteY39" fmla="*/ 287564 h 748118"/>
                <a:gd name="connsiteX40" fmla="*/ 49499 w 1670455"/>
                <a:gd name="connsiteY40" fmla="*/ 411568 h 748118"/>
                <a:gd name="connsiteX41" fmla="*/ 142758 w 1670455"/>
                <a:gd name="connsiteY41" fmla="*/ 505134 h 748118"/>
                <a:gd name="connsiteX42" fmla="*/ 217364 w 1670455"/>
                <a:gd name="connsiteY42" fmla="*/ 440570 h 748118"/>
                <a:gd name="connsiteX43" fmla="*/ 247494 w 1670455"/>
                <a:gd name="connsiteY43" fmla="*/ 322613 h 748118"/>
                <a:gd name="connsiteX44" fmla="*/ 158335 w 1670455"/>
                <a:gd name="connsiteY44" fmla="*/ 286847 h 748118"/>
                <a:gd name="connsiteX45" fmla="*/ 247187 w 1670455"/>
                <a:gd name="connsiteY45" fmla="*/ 190104 h 748118"/>
                <a:gd name="connsiteX46" fmla="*/ 361864 w 1670455"/>
                <a:gd name="connsiteY46" fmla="*/ 248929 h 748118"/>
                <a:gd name="connsiteX47" fmla="*/ 653221 w 1670455"/>
                <a:gd name="connsiteY47" fmla="*/ 157515 h 748118"/>
                <a:gd name="connsiteX48" fmla="*/ 424993 w 1670455"/>
                <a:gd name="connsiteY48" fmla="*/ 347414 h 748118"/>
                <a:gd name="connsiteX49" fmla="*/ 202197 w 1670455"/>
                <a:gd name="connsiteY49" fmla="*/ 562933 h 748118"/>
                <a:gd name="connsiteX50" fmla="*/ 485867 w 1670455"/>
                <a:gd name="connsiteY50" fmla="*/ 468035 h 748118"/>
                <a:gd name="connsiteX51" fmla="*/ 600545 w 1670455"/>
                <a:gd name="connsiteY51" fmla="*/ 526860 h 748118"/>
                <a:gd name="connsiteX52" fmla="*/ 689396 w 1670455"/>
                <a:gd name="connsiteY52" fmla="*/ 430117 h 748118"/>
                <a:gd name="connsiteX53" fmla="*/ 600237 w 1670455"/>
                <a:gd name="connsiteY53" fmla="*/ 394351 h 748118"/>
                <a:gd name="connsiteX54" fmla="*/ 630367 w 1670455"/>
                <a:gd name="connsiteY54" fmla="*/ 276394 h 748118"/>
                <a:gd name="connsiteX55" fmla="*/ 704974 w 1670455"/>
                <a:gd name="connsiteY55" fmla="*/ 211830 h 748118"/>
                <a:gd name="connsiteX56" fmla="*/ 798232 w 1670455"/>
                <a:gd name="connsiteY56" fmla="*/ 305396 h 748118"/>
                <a:gd name="connsiteX57" fmla="*/ 798335 w 1670455"/>
                <a:gd name="connsiteY57" fmla="*/ 429399 h 748118"/>
                <a:gd name="connsiteX58" fmla="*/ 656090 w 1670455"/>
                <a:gd name="connsiteY58" fmla="*/ 558527 h 748118"/>
                <a:gd name="connsiteX59" fmla="*/ 811042 w 1670455"/>
                <a:gd name="connsiteY59" fmla="*/ 699542 h 748118"/>
                <a:gd name="connsiteX60" fmla="*/ 594703 w 1670455"/>
                <a:gd name="connsiteY60" fmla="*/ 712864 h 748118"/>
                <a:gd name="connsiteX61" fmla="*/ 517329 w 1670455"/>
                <a:gd name="connsiteY61" fmla="*/ 644304 h 748118"/>
                <a:gd name="connsiteX62" fmla="*/ 329480 w 1670455"/>
                <a:gd name="connsiteY62" fmla="*/ 681300 h 748118"/>
                <a:gd name="connsiteX63" fmla="*/ 88237 w 1670455"/>
                <a:gd name="connsiteY63" fmla="*/ 540695 h 748118"/>
                <a:gd name="connsiteX64" fmla="*/ 7686 w 1670455"/>
                <a:gd name="connsiteY64" fmla="*/ 706613 h 748118"/>
                <a:gd name="connsiteX65" fmla="*/ 7686 w 1670455"/>
                <a:gd name="connsiteY65" fmla="*/ 746888 h 748118"/>
                <a:gd name="connsiteX66" fmla="*/ 1672199 w 1670455"/>
                <a:gd name="connsiteY66" fmla="*/ 746888 h 748118"/>
                <a:gd name="connsiteX67" fmla="*/ 1672199 w 1670455"/>
                <a:gd name="connsiteY67" fmla="*/ 705076 h 74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70455" h="748118">
                  <a:moveTo>
                    <a:pt x="1672506" y="705076"/>
                  </a:moveTo>
                  <a:cubicBezTo>
                    <a:pt x="1606200" y="663776"/>
                    <a:pt x="1590316" y="628624"/>
                    <a:pt x="1591955" y="540695"/>
                  </a:cubicBezTo>
                  <a:cubicBezTo>
                    <a:pt x="1526469" y="612740"/>
                    <a:pt x="1444586" y="665005"/>
                    <a:pt x="1350713" y="681300"/>
                  </a:cubicBezTo>
                  <a:cubicBezTo>
                    <a:pt x="1273338" y="694828"/>
                    <a:pt x="1231731" y="675663"/>
                    <a:pt x="1162863" y="644304"/>
                  </a:cubicBezTo>
                  <a:cubicBezTo>
                    <a:pt x="1117976" y="670027"/>
                    <a:pt x="1120743" y="669207"/>
                    <a:pt x="1085489" y="712864"/>
                  </a:cubicBezTo>
                  <a:cubicBezTo>
                    <a:pt x="1004631" y="628522"/>
                    <a:pt x="943244" y="633031"/>
                    <a:pt x="869149" y="706101"/>
                  </a:cubicBezTo>
                  <a:cubicBezTo>
                    <a:pt x="869355" y="578511"/>
                    <a:pt x="931459" y="578511"/>
                    <a:pt x="1024103" y="562113"/>
                  </a:cubicBezTo>
                  <a:cubicBezTo>
                    <a:pt x="923568" y="513844"/>
                    <a:pt x="883190" y="522760"/>
                    <a:pt x="881858" y="432986"/>
                  </a:cubicBezTo>
                  <a:cubicBezTo>
                    <a:pt x="881243" y="391584"/>
                    <a:pt x="882165" y="350591"/>
                    <a:pt x="881858" y="308983"/>
                  </a:cubicBezTo>
                  <a:cubicBezTo>
                    <a:pt x="881345" y="230379"/>
                    <a:pt x="923363" y="211625"/>
                    <a:pt x="975116" y="215417"/>
                  </a:cubicBezTo>
                  <a:cubicBezTo>
                    <a:pt x="1030661" y="219414"/>
                    <a:pt x="1047366" y="245137"/>
                    <a:pt x="1049723" y="279981"/>
                  </a:cubicBezTo>
                  <a:cubicBezTo>
                    <a:pt x="1054745" y="353050"/>
                    <a:pt x="1059561" y="350181"/>
                    <a:pt x="1079853" y="397937"/>
                  </a:cubicBezTo>
                  <a:cubicBezTo>
                    <a:pt x="1113672" y="477566"/>
                    <a:pt x="1022053" y="478796"/>
                    <a:pt x="990694" y="433704"/>
                  </a:cubicBezTo>
                  <a:cubicBezTo>
                    <a:pt x="973066" y="486892"/>
                    <a:pt x="997457" y="528602"/>
                    <a:pt x="1079545" y="530447"/>
                  </a:cubicBezTo>
                  <a:cubicBezTo>
                    <a:pt x="1122076" y="531369"/>
                    <a:pt x="1164298" y="511487"/>
                    <a:pt x="1194223" y="471622"/>
                  </a:cubicBezTo>
                  <a:cubicBezTo>
                    <a:pt x="1246693" y="611510"/>
                    <a:pt x="1355324" y="641230"/>
                    <a:pt x="1485579" y="563036"/>
                  </a:cubicBezTo>
                  <a:cubicBezTo>
                    <a:pt x="1362703" y="533009"/>
                    <a:pt x="1294348" y="466600"/>
                    <a:pt x="1257351" y="373137"/>
                  </a:cubicBezTo>
                  <a:cubicBezTo>
                    <a:pt x="1176493" y="168788"/>
                    <a:pt x="1140420" y="178626"/>
                    <a:pt x="1034453" y="157617"/>
                  </a:cubicBezTo>
                  <a:cubicBezTo>
                    <a:pt x="1153025" y="62514"/>
                    <a:pt x="1289941" y="97973"/>
                    <a:pt x="1318124" y="252516"/>
                  </a:cubicBezTo>
                  <a:cubicBezTo>
                    <a:pt x="1348048" y="212650"/>
                    <a:pt x="1390271" y="192769"/>
                    <a:pt x="1432800" y="193691"/>
                  </a:cubicBezTo>
                  <a:cubicBezTo>
                    <a:pt x="1514888" y="195536"/>
                    <a:pt x="1539279" y="237246"/>
                    <a:pt x="1521653" y="290434"/>
                  </a:cubicBezTo>
                  <a:cubicBezTo>
                    <a:pt x="1490293" y="245342"/>
                    <a:pt x="1398674" y="246572"/>
                    <a:pt x="1432493" y="326200"/>
                  </a:cubicBezTo>
                  <a:cubicBezTo>
                    <a:pt x="1452784" y="373957"/>
                    <a:pt x="1457601" y="371087"/>
                    <a:pt x="1462623" y="444157"/>
                  </a:cubicBezTo>
                  <a:cubicBezTo>
                    <a:pt x="1464980" y="479001"/>
                    <a:pt x="1481684" y="504724"/>
                    <a:pt x="1537229" y="508720"/>
                  </a:cubicBezTo>
                  <a:cubicBezTo>
                    <a:pt x="1588983" y="512410"/>
                    <a:pt x="1631001" y="493656"/>
                    <a:pt x="1630488" y="415154"/>
                  </a:cubicBezTo>
                  <a:cubicBezTo>
                    <a:pt x="1630181" y="373444"/>
                    <a:pt x="1631206" y="332554"/>
                    <a:pt x="1630591" y="291151"/>
                  </a:cubicBezTo>
                  <a:cubicBezTo>
                    <a:pt x="1629156" y="201377"/>
                    <a:pt x="1588881" y="210293"/>
                    <a:pt x="1488346" y="162024"/>
                  </a:cubicBezTo>
                  <a:cubicBezTo>
                    <a:pt x="1580989" y="145524"/>
                    <a:pt x="1641249" y="143680"/>
                    <a:pt x="1643299" y="21009"/>
                  </a:cubicBezTo>
                  <a:cubicBezTo>
                    <a:pt x="1569204" y="87520"/>
                    <a:pt x="1507817" y="92029"/>
                    <a:pt x="1426959" y="7686"/>
                  </a:cubicBezTo>
                  <a:cubicBezTo>
                    <a:pt x="1391706" y="51446"/>
                    <a:pt x="1394575" y="50626"/>
                    <a:pt x="1349585" y="76247"/>
                  </a:cubicBezTo>
                  <a:cubicBezTo>
                    <a:pt x="1280820" y="44887"/>
                    <a:pt x="1239212" y="25723"/>
                    <a:pt x="1161736" y="39251"/>
                  </a:cubicBezTo>
                  <a:cubicBezTo>
                    <a:pt x="1067965" y="55545"/>
                    <a:pt x="986082" y="107811"/>
                    <a:pt x="920493" y="179856"/>
                  </a:cubicBezTo>
                  <a:cubicBezTo>
                    <a:pt x="922133" y="91926"/>
                    <a:pt x="921621" y="68253"/>
                    <a:pt x="839942" y="13528"/>
                  </a:cubicBezTo>
                  <a:cubicBezTo>
                    <a:pt x="773637" y="56775"/>
                    <a:pt x="757752" y="91926"/>
                    <a:pt x="759392" y="179856"/>
                  </a:cubicBezTo>
                  <a:cubicBezTo>
                    <a:pt x="693906" y="107811"/>
                    <a:pt x="612023" y="55545"/>
                    <a:pt x="518251" y="39251"/>
                  </a:cubicBezTo>
                  <a:cubicBezTo>
                    <a:pt x="440878" y="25723"/>
                    <a:pt x="399167" y="44887"/>
                    <a:pt x="330402" y="76247"/>
                  </a:cubicBezTo>
                  <a:cubicBezTo>
                    <a:pt x="285515" y="50524"/>
                    <a:pt x="288282" y="51343"/>
                    <a:pt x="253028" y="7686"/>
                  </a:cubicBezTo>
                  <a:cubicBezTo>
                    <a:pt x="172170" y="92029"/>
                    <a:pt x="110783" y="87520"/>
                    <a:pt x="36689" y="14450"/>
                  </a:cubicBezTo>
                  <a:cubicBezTo>
                    <a:pt x="36894" y="142040"/>
                    <a:pt x="98998" y="141938"/>
                    <a:pt x="191641" y="158437"/>
                  </a:cubicBezTo>
                  <a:cubicBezTo>
                    <a:pt x="91107" y="206706"/>
                    <a:pt x="50831" y="197790"/>
                    <a:pt x="49396" y="287564"/>
                  </a:cubicBezTo>
                  <a:cubicBezTo>
                    <a:pt x="48782" y="328967"/>
                    <a:pt x="49704" y="369960"/>
                    <a:pt x="49499" y="411568"/>
                  </a:cubicBezTo>
                  <a:cubicBezTo>
                    <a:pt x="48987" y="490171"/>
                    <a:pt x="91004" y="508925"/>
                    <a:pt x="142758" y="505134"/>
                  </a:cubicBezTo>
                  <a:cubicBezTo>
                    <a:pt x="198303" y="501137"/>
                    <a:pt x="215008" y="475414"/>
                    <a:pt x="217364" y="440570"/>
                  </a:cubicBezTo>
                  <a:cubicBezTo>
                    <a:pt x="222386" y="367500"/>
                    <a:pt x="227203" y="370370"/>
                    <a:pt x="247494" y="322613"/>
                  </a:cubicBezTo>
                  <a:cubicBezTo>
                    <a:pt x="281313" y="242985"/>
                    <a:pt x="189694" y="241755"/>
                    <a:pt x="158335" y="286847"/>
                  </a:cubicBezTo>
                  <a:cubicBezTo>
                    <a:pt x="140708" y="233659"/>
                    <a:pt x="165201" y="191949"/>
                    <a:pt x="247187" y="190104"/>
                  </a:cubicBezTo>
                  <a:cubicBezTo>
                    <a:pt x="289717" y="189182"/>
                    <a:pt x="331939" y="209063"/>
                    <a:pt x="361864" y="248929"/>
                  </a:cubicBezTo>
                  <a:cubicBezTo>
                    <a:pt x="414335" y="109041"/>
                    <a:pt x="522966" y="79321"/>
                    <a:pt x="653221" y="157515"/>
                  </a:cubicBezTo>
                  <a:cubicBezTo>
                    <a:pt x="530344" y="187542"/>
                    <a:pt x="461989" y="253950"/>
                    <a:pt x="424993" y="347414"/>
                  </a:cubicBezTo>
                  <a:cubicBezTo>
                    <a:pt x="344237" y="551660"/>
                    <a:pt x="308061" y="541925"/>
                    <a:pt x="202197" y="562933"/>
                  </a:cubicBezTo>
                  <a:cubicBezTo>
                    <a:pt x="320769" y="658037"/>
                    <a:pt x="457685" y="622578"/>
                    <a:pt x="485867" y="468035"/>
                  </a:cubicBezTo>
                  <a:cubicBezTo>
                    <a:pt x="515792" y="507901"/>
                    <a:pt x="558014" y="527782"/>
                    <a:pt x="600545" y="526860"/>
                  </a:cubicBezTo>
                  <a:cubicBezTo>
                    <a:pt x="682633" y="525015"/>
                    <a:pt x="707024" y="483305"/>
                    <a:pt x="689396" y="430117"/>
                  </a:cubicBezTo>
                  <a:cubicBezTo>
                    <a:pt x="658139" y="475209"/>
                    <a:pt x="566418" y="473979"/>
                    <a:pt x="600237" y="394351"/>
                  </a:cubicBezTo>
                  <a:cubicBezTo>
                    <a:pt x="620529" y="346594"/>
                    <a:pt x="625345" y="349463"/>
                    <a:pt x="630367" y="276394"/>
                  </a:cubicBezTo>
                  <a:cubicBezTo>
                    <a:pt x="632724" y="241550"/>
                    <a:pt x="649429" y="215827"/>
                    <a:pt x="704974" y="211830"/>
                  </a:cubicBezTo>
                  <a:cubicBezTo>
                    <a:pt x="756727" y="208141"/>
                    <a:pt x="798744" y="226895"/>
                    <a:pt x="798232" y="305396"/>
                  </a:cubicBezTo>
                  <a:cubicBezTo>
                    <a:pt x="798028" y="347106"/>
                    <a:pt x="798950" y="387997"/>
                    <a:pt x="798335" y="429399"/>
                  </a:cubicBezTo>
                  <a:cubicBezTo>
                    <a:pt x="796900" y="519174"/>
                    <a:pt x="756625" y="510258"/>
                    <a:pt x="656090" y="558527"/>
                  </a:cubicBezTo>
                  <a:cubicBezTo>
                    <a:pt x="748733" y="575026"/>
                    <a:pt x="808993" y="576871"/>
                    <a:pt x="811042" y="699542"/>
                  </a:cubicBezTo>
                  <a:cubicBezTo>
                    <a:pt x="736948" y="633031"/>
                    <a:pt x="675562" y="628522"/>
                    <a:pt x="594703" y="712864"/>
                  </a:cubicBezTo>
                  <a:cubicBezTo>
                    <a:pt x="559449" y="669105"/>
                    <a:pt x="562319" y="669925"/>
                    <a:pt x="517329" y="644304"/>
                  </a:cubicBezTo>
                  <a:cubicBezTo>
                    <a:pt x="448564" y="675663"/>
                    <a:pt x="406956" y="694828"/>
                    <a:pt x="329480" y="681300"/>
                  </a:cubicBezTo>
                  <a:cubicBezTo>
                    <a:pt x="235709" y="665005"/>
                    <a:pt x="153826" y="612740"/>
                    <a:pt x="88237" y="540695"/>
                  </a:cubicBezTo>
                  <a:cubicBezTo>
                    <a:pt x="89877" y="628624"/>
                    <a:pt x="89365" y="652298"/>
                    <a:pt x="7686" y="706613"/>
                  </a:cubicBezTo>
                  <a:lnTo>
                    <a:pt x="7686" y="746888"/>
                  </a:lnTo>
                  <a:lnTo>
                    <a:pt x="1672199" y="746888"/>
                  </a:lnTo>
                  <a:lnTo>
                    <a:pt x="1672199" y="7050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96559FA0-B849-4419-847A-A8ED90513607}"/>
                </a:ext>
              </a:extLst>
            </p:cNvPr>
            <p:cNvSpPr/>
            <p:nvPr userDrawn="1"/>
          </p:nvSpPr>
          <p:spPr>
            <a:xfrm>
              <a:off x="1143000" y="4320454"/>
              <a:ext cx="1143000" cy="511895"/>
            </a:xfrm>
            <a:custGeom>
              <a:avLst/>
              <a:gdLst>
                <a:gd name="connsiteX0" fmla="*/ 1672506 w 1670455"/>
                <a:gd name="connsiteY0" fmla="*/ 705076 h 748118"/>
                <a:gd name="connsiteX1" fmla="*/ 1591955 w 1670455"/>
                <a:gd name="connsiteY1" fmla="*/ 540695 h 748118"/>
                <a:gd name="connsiteX2" fmla="*/ 1350713 w 1670455"/>
                <a:gd name="connsiteY2" fmla="*/ 681300 h 748118"/>
                <a:gd name="connsiteX3" fmla="*/ 1162863 w 1670455"/>
                <a:gd name="connsiteY3" fmla="*/ 644304 h 748118"/>
                <a:gd name="connsiteX4" fmla="*/ 1085489 w 1670455"/>
                <a:gd name="connsiteY4" fmla="*/ 712864 h 748118"/>
                <a:gd name="connsiteX5" fmla="*/ 869149 w 1670455"/>
                <a:gd name="connsiteY5" fmla="*/ 706101 h 748118"/>
                <a:gd name="connsiteX6" fmla="*/ 1024103 w 1670455"/>
                <a:gd name="connsiteY6" fmla="*/ 562113 h 748118"/>
                <a:gd name="connsiteX7" fmla="*/ 881858 w 1670455"/>
                <a:gd name="connsiteY7" fmla="*/ 432986 h 748118"/>
                <a:gd name="connsiteX8" fmla="*/ 881858 w 1670455"/>
                <a:gd name="connsiteY8" fmla="*/ 308983 h 748118"/>
                <a:gd name="connsiteX9" fmla="*/ 975116 w 1670455"/>
                <a:gd name="connsiteY9" fmla="*/ 215417 h 748118"/>
                <a:gd name="connsiteX10" fmla="*/ 1049723 w 1670455"/>
                <a:gd name="connsiteY10" fmla="*/ 279981 h 748118"/>
                <a:gd name="connsiteX11" fmla="*/ 1079853 w 1670455"/>
                <a:gd name="connsiteY11" fmla="*/ 397937 h 748118"/>
                <a:gd name="connsiteX12" fmla="*/ 990694 w 1670455"/>
                <a:gd name="connsiteY12" fmla="*/ 433704 h 748118"/>
                <a:gd name="connsiteX13" fmla="*/ 1079545 w 1670455"/>
                <a:gd name="connsiteY13" fmla="*/ 530447 h 748118"/>
                <a:gd name="connsiteX14" fmla="*/ 1194223 w 1670455"/>
                <a:gd name="connsiteY14" fmla="*/ 471622 h 748118"/>
                <a:gd name="connsiteX15" fmla="*/ 1485579 w 1670455"/>
                <a:gd name="connsiteY15" fmla="*/ 563036 h 748118"/>
                <a:gd name="connsiteX16" fmla="*/ 1257351 w 1670455"/>
                <a:gd name="connsiteY16" fmla="*/ 373137 h 748118"/>
                <a:gd name="connsiteX17" fmla="*/ 1034453 w 1670455"/>
                <a:gd name="connsiteY17" fmla="*/ 157617 h 748118"/>
                <a:gd name="connsiteX18" fmla="*/ 1318124 w 1670455"/>
                <a:gd name="connsiteY18" fmla="*/ 252516 h 748118"/>
                <a:gd name="connsiteX19" fmla="*/ 1432800 w 1670455"/>
                <a:gd name="connsiteY19" fmla="*/ 193691 h 748118"/>
                <a:gd name="connsiteX20" fmla="*/ 1521653 w 1670455"/>
                <a:gd name="connsiteY20" fmla="*/ 290434 h 748118"/>
                <a:gd name="connsiteX21" fmla="*/ 1432493 w 1670455"/>
                <a:gd name="connsiteY21" fmla="*/ 326200 h 748118"/>
                <a:gd name="connsiteX22" fmla="*/ 1462623 w 1670455"/>
                <a:gd name="connsiteY22" fmla="*/ 444157 h 748118"/>
                <a:gd name="connsiteX23" fmla="*/ 1537229 w 1670455"/>
                <a:gd name="connsiteY23" fmla="*/ 508720 h 748118"/>
                <a:gd name="connsiteX24" fmla="*/ 1630488 w 1670455"/>
                <a:gd name="connsiteY24" fmla="*/ 415154 h 748118"/>
                <a:gd name="connsiteX25" fmla="*/ 1630591 w 1670455"/>
                <a:gd name="connsiteY25" fmla="*/ 291151 h 748118"/>
                <a:gd name="connsiteX26" fmla="*/ 1488346 w 1670455"/>
                <a:gd name="connsiteY26" fmla="*/ 162024 h 748118"/>
                <a:gd name="connsiteX27" fmla="*/ 1643299 w 1670455"/>
                <a:gd name="connsiteY27" fmla="*/ 21009 h 748118"/>
                <a:gd name="connsiteX28" fmla="*/ 1426959 w 1670455"/>
                <a:gd name="connsiteY28" fmla="*/ 7686 h 748118"/>
                <a:gd name="connsiteX29" fmla="*/ 1349585 w 1670455"/>
                <a:gd name="connsiteY29" fmla="*/ 76247 h 748118"/>
                <a:gd name="connsiteX30" fmla="*/ 1161736 w 1670455"/>
                <a:gd name="connsiteY30" fmla="*/ 39251 h 748118"/>
                <a:gd name="connsiteX31" fmla="*/ 920493 w 1670455"/>
                <a:gd name="connsiteY31" fmla="*/ 179856 h 748118"/>
                <a:gd name="connsiteX32" fmla="*/ 839942 w 1670455"/>
                <a:gd name="connsiteY32" fmla="*/ 13528 h 748118"/>
                <a:gd name="connsiteX33" fmla="*/ 759392 w 1670455"/>
                <a:gd name="connsiteY33" fmla="*/ 179856 h 748118"/>
                <a:gd name="connsiteX34" fmla="*/ 518251 w 1670455"/>
                <a:gd name="connsiteY34" fmla="*/ 39251 h 748118"/>
                <a:gd name="connsiteX35" fmla="*/ 330402 w 1670455"/>
                <a:gd name="connsiteY35" fmla="*/ 76247 h 748118"/>
                <a:gd name="connsiteX36" fmla="*/ 253028 w 1670455"/>
                <a:gd name="connsiteY36" fmla="*/ 7686 h 748118"/>
                <a:gd name="connsiteX37" fmla="*/ 36689 w 1670455"/>
                <a:gd name="connsiteY37" fmla="*/ 14450 h 748118"/>
                <a:gd name="connsiteX38" fmla="*/ 191641 w 1670455"/>
                <a:gd name="connsiteY38" fmla="*/ 158437 h 748118"/>
                <a:gd name="connsiteX39" fmla="*/ 49396 w 1670455"/>
                <a:gd name="connsiteY39" fmla="*/ 287564 h 748118"/>
                <a:gd name="connsiteX40" fmla="*/ 49499 w 1670455"/>
                <a:gd name="connsiteY40" fmla="*/ 411568 h 748118"/>
                <a:gd name="connsiteX41" fmla="*/ 142758 w 1670455"/>
                <a:gd name="connsiteY41" fmla="*/ 505134 h 748118"/>
                <a:gd name="connsiteX42" fmla="*/ 217364 w 1670455"/>
                <a:gd name="connsiteY42" fmla="*/ 440570 h 748118"/>
                <a:gd name="connsiteX43" fmla="*/ 247494 w 1670455"/>
                <a:gd name="connsiteY43" fmla="*/ 322613 h 748118"/>
                <a:gd name="connsiteX44" fmla="*/ 158335 w 1670455"/>
                <a:gd name="connsiteY44" fmla="*/ 286847 h 748118"/>
                <a:gd name="connsiteX45" fmla="*/ 247187 w 1670455"/>
                <a:gd name="connsiteY45" fmla="*/ 190104 h 748118"/>
                <a:gd name="connsiteX46" fmla="*/ 361864 w 1670455"/>
                <a:gd name="connsiteY46" fmla="*/ 248929 h 748118"/>
                <a:gd name="connsiteX47" fmla="*/ 653221 w 1670455"/>
                <a:gd name="connsiteY47" fmla="*/ 157515 h 748118"/>
                <a:gd name="connsiteX48" fmla="*/ 424993 w 1670455"/>
                <a:gd name="connsiteY48" fmla="*/ 347414 h 748118"/>
                <a:gd name="connsiteX49" fmla="*/ 202197 w 1670455"/>
                <a:gd name="connsiteY49" fmla="*/ 562933 h 748118"/>
                <a:gd name="connsiteX50" fmla="*/ 485867 w 1670455"/>
                <a:gd name="connsiteY50" fmla="*/ 468035 h 748118"/>
                <a:gd name="connsiteX51" fmla="*/ 600545 w 1670455"/>
                <a:gd name="connsiteY51" fmla="*/ 526860 h 748118"/>
                <a:gd name="connsiteX52" fmla="*/ 689396 w 1670455"/>
                <a:gd name="connsiteY52" fmla="*/ 430117 h 748118"/>
                <a:gd name="connsiteX53" fmla="*/ 600237 w 1670455"/>
                <a:gd name="connsiteY53" fmla="*/ 394351 h 748118"/>
                <a:gd name="connsiteX54" fmla="*/ 630367 w 1670455"/>
                <a:gd name="connsiteY54" fmla="*/ 276394 h 748118"/>
                <a:gd name="connsiteX55" fmla="*/ 704974 w 1670455"/>
                <a:gd name="connsiteY55" fmla="*/ 211830 h 748118"/>
                <a:gd name="connsiteX56" fmla="*/ 798232 w 1670455"/>
                <a:gd name="connsiteY56" fmla="*/ 305396 h 748118"/>
                <a:gd name="connsiteX57" fmla="*/ 798335 w 1670455"/>
                <a:gd name="connsiteY57" fmla="*/ 429399 h 748118"/>
                <a:gd name="connsiteX58" fmla="*/ 656090 w 1670455"/>
                <a:gd name="connsiteY58" fmla="*/ 558527 h 748118"/>
                <a:gd name="connsiteX59" fmla="*/ 811042 w 1670455"/>
                <a:gd name="connsiteY59" fmla="*/ 699542 h 748118"/>
                <a:gd name="connsiteX60" fmla="*/ 594703 w 1670455"/>
                <a:gd name="connsiteY60" fmla="*/ 712864 h 748118"/>
                <a:gd name="connsiteX61" fmla="*/ 517329 w 1670455"/>
                <a:gd name="connsiteY61" fmla="*/ 644304 h 748118"/>
                <a:gd name="connsiteX62" fmla="*/ 329480 w 1670455"/>
                <a:gd name="connsiteY62" fmla="*/ 681300 h 748118"/>
                <a:gd name="connsiteX63" fmla="*/ 88237 w 1670455"/>
                <a:gd name="connsiteY63" fmla="*/ 540695 h 748118"/>
                <a:gd name="connsiteX64" fmla="*/ 7686 w 1670455"/>
                <a:gd name="connsiteY64" fmla="*/ 706613 h 748118"/>
                <a:gd name="connsiteX65" fmla="*/ 7686 w 1670455"/>
                <a:gd name="connsiteY65" fmla="*/ 746888 h 748118"/>
                <a:gd name="connsiteX66" fmla="*/ 1672199 w 1670455"/>
                <a:gd name="connsiteY66" fmla="*/ 746888 h 748118"/>
                <a:gd name="connsiteX67" fmla="*/ 1672199 w 1670455"/>
                <a:gd name="connsiteY67" fmla="*/ 705076 h 74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70455" h="748118">
                  <a:moveTo>
                    <a:pt x="1672506" y="705076"/>
                  </a:moveTo>
                  <a:cubicBezTo>
                    <a:pt x="1606200" y="663776"/>
                    <a:pt x="1590316" y="628624"/>
                    <a:pt x="1591955" y="540695"/>
                  </a:cubicBezTo>
                  <a:cubicBezTo>
                    <a:pt x="1526469" y="612740"/>
                    <a:pt x="1444586" y="665005"/>
                    <a:pt x="1350713" y="681300"/>
                  </a:cubicBezTo>
                  <a:cubicBezTo>
                    <a:pt x="1273338" y="694828"/>
                    <a:pt x="1231731" y="675663"/>
                    <a:pt x="1162863" y="644304"/>
                  </a:cubicBezTo>
                  <a:cubicBezTo>
                    <a:pt x="1117976" y="670027"/>
                    <a:pt x="1120743" y="669207"/>
                    <a:pt x="1085489" y="712864"/>
                  </a:cubicBezTo>
                  <a:cubicBezTo>
                    <a:pt x="1004631" y="628522"/>
                    <a:pt x="943244" y="633031"/>
                    <a:pt x="869149" y="706101"/>
                  </a:cubicBezTo>
                  <a:cubicBezTo>
                    <a:pt x="869355" y="578511"/>
                    <a:pt x="931459" y="578511"/>
                    <a:pt x="1024103" y="562113"/>
                  </a:cubicBezTo>
                  <a:cubicBezTo>
                    <a:pt x="923568" y="513844"/>
                    <a:pt x="883190" y="522760"/>
                    <a:pt x="881858" y="432986"/>
                  </a:cubicBezTo>
                  <a:cubicBezTo>
                    <a:pt x="881243" y="391584"/>
                    <a:pt x="882165" y="350591"/>
                    <a:pt x="881858" y="308983"/>
                  </a:cubicBezTo>
                  <a:cubicBezTo>
                    <a:pt x="881345" y="230379"/>
                    <a:pt x="923363" y="211625"/>
                    <a:pt x="975116" y="215417"/>
                  </a:cubicBezTo>
                  <a:cubicBezTo>
                    <a:pt x="1030661" y="219414"/>
                    <a:pt x="1047366" y="245137"/>
                    <a:pt x="1049723" y="279981"/>
                  </a:cubicBezTo>
                  <a:cubicBezTo>
                    <a:pt x="1054745" y="353050"/>
                    <a:pt x="1059561" y="350181"/>
                    <a:pt x="1079853" y="397937"/>
                  </a:cubicBezTo>
                  <a:cubicBezTo>
                    <a:pt x="1113672" y="477566"/>
                    <a:pt x="1022053" y="478796"/>
                    <a:pt x="990694" y="433704"/>
                  </a:cubicBezTo>
                  <a:cubicBezTo>
                    <a:pt x="973066" y="486892"/>
                    <a:pt x="997457" y="528602"/>
                    <a:pt x="1079545" y="530447"/>
                  </a:cubicBezTo>
                  <a:cubicBezTo>
                    <a:pt x="1122076" y="531369"/>
                    <a:pt x="1164298" y="511487"/>
                    <a:pt x="1194223" y="471622"/>
                  </a:cubicBezTo>
                  <a:cubicBezTo>
                    <a:pt x="1246693" y="611510"/>
                    <a:pt x="1355324" y="641230"/>
                    <a:pt x="1485579" y="563036"/>
                  </a:cubicBezTo>
                  <a:cubicBezTo>
                    <a:pt x="1362703" y="533009"/>
                    <a:pt x="1294348" y="466600"/>
                    <a:pt x="1257351" y="373137"/>
                  </a:cubicBezTo>
                  <a:cubicBezTo>
                    <a:pt x="1176493" y="168788"/>
                    <a:pt x="1140420" y="178626"/>
                    <a:pt x="1034453" y="157617"/>
                  </a:cubicBezTo>
                  <a:cubicBezTo>
                    <a:pt x="1153025" y="62514"/>
                    <a:pt x="1289941" y="97973"/>
                    <a:pt x="1318124" y="252516"/>
                  </a:cubicBezTo>
                  <a:cubicBezTo>
                    <a:pt x="1348048" y="212650"/>
                    <a:pt x="1390271" y="192769"/>
                    <a:pt x="1432800" y="193691"/>
                  </a:cubicBezTo>
                  <a:cubicBezTo>
                    <a:pt x="1514888" y="195536"/>
                    <a:pt x="1539279" y="237246"/>
                    <a:pt x="1521653" y="290434"/>
                  </a:cubicBezTo>
                  <a:cubicBezTo>
                    <a:pt x="1490293" y="245342"/>
                    <a:pt x="1398674" y="246572"/>
                    <a:pt x="1432493" y="326200"/>
                  </a:cubicBezTo>
                  <a:cubicBezTo>
                    <a:pt x="1452784" y="373957"/>
                    <a:pt x="1457601" y="371087"/>
                    <a:pt x="1462623" y="444157"/>
                  </a:cubicBezTo>
                  <a:cubicBezTo>
                    <a:pt x="1464980" y="479001"/>
                    <a:pt x="1481684" y="504724"/>
                    <a:pt x="1537229" y="508720"/>
                  </a:cubicBezTo>
                  <a:cubicBezTo>
                    <a:pt x="1588983" y="512410"/>
                    <a:pt x="1631001" y="493656"/>
                    <a:pt x="1630488" y="415154"/>
                  </a:cubicBezTo>
                  <a:cubicBezTo>
                    <a:pt x="1630181" y="373444"/>
                    <a:pt x="1631206" y="332554"/>
                    <a:pt x="1630591" y="291151"/>
                  </a:cubicBezTo>
                  <a:cubicBezTo>
                    <a:pt x="1629156" y="201377"/>
                    <a:pt x="1588881" y="210293"/>
                    <a:pt x="1488346" y="162024"/>
                  </a:cubicBezTo>
                  <a:cubicBezTo>
                    <a:pt x="1580989" y="145524"/>
                    <a:pt x="1641249" y="143680"/>
                    <a:pt x="1643299" y="21009"/>
                  </a:cubicBezTo>
                  <a:cubicBezTo>
                    <a:pt x="1569204" y="87520"/>
                    <a:pt x="1507817" y="92029"/>
                    <a:pt x="1426959" y="7686"/>
                  </a:cubicBezTo>
                  <a:cubicBezTo>
                    <a:pt x="1391706" y="51446"/>
                    <a:pt x="1394575" y="50626"/>
                    <a:pt x="1349585" y="76247"/>
                  </a:cubicBezTo>
                  <a:cubicBezTo>
                    <a:pt x="1280820" y="44887"/>
                    <a:pt x="1239212" y="25723"/>
                    <a:pt x="1161736" y="39251"/>
                  </a:cubicBezTo>
                  <a:cubicBezTo>
                    <a:pt x="1067965" y="55545"/>
                    <a:pt x="986082" y="107811"/>
                    <a:pt x="920493" y="179856"/>
                  </a:cubicBezTo>
                  <a:cubicBezTo>
                    <a:pt x="922133" y="91926"/>
                    <a:pt x="921621" y="68253"/>
                    <a:pt x="839942" y="13528"/>
                  </a:cubicBezTo>
                  <a:cubicBezTo>
                    <a:pt x="773637" y="56775"/>
                    <a:pt x="757752" y="91926"/>
                    <a:pt x="759392" y="179856"/>
                  </a:cubicBezTo>
                  <a:cubicBezTo>
                    <a:pt x="693906" y="107811"/>
                    <a:pt x="612023" y="55545"/>
                    <a:pt x="518251" y="39251"/>
                  </a:cubicBezTo>
                  <a:cubicBezTo>
                    <a:pt x="440878" y="25723"/>
                    <a:pt x="399167" y="44887"/>
                    <a:pt x="330402" y="76247"/>
                  </a:cubicBezTo>
                  <a:cubicBezTo>
                    <a:pt x="285515" y="50524"/>
                    <a:pt x="288282" y="51343"/>
                    <a:pt x="253028" y="7686"/>
                  </a:cubicBezTo>
                  <a:cubicBezTo>
                    <a:pt x="172170" y="92029"/>
                    <a:pt x="110783" y="87520"/>
                    <a:pt x="36689" y="14450"/>
                  </a:cubicBezTo>
                  <a:cubicBezTo>
                    <a:pt x="36894" y="142040"/>
                    <a:pt x="98998" y="141938"/>
                    <a:pt x="191641" y="158437"/>
                  </a:cubicBezTo>
                  <a:cubicBezTo>
                    <a:pt x="91107" y="206706"/>
                    <a:pt x="50831" y="197790"/>
                    <a:pt x="49396" y="287564"/>
                  </a:cubicBezTo>
                  <a:cubicBezTo>
                    <a:pt x="48782" y="328967"/>
                    <a:pt x="49704" y="369960"/>
                    <a:pt x="49499" y="411568"/>
                  </a:cubicBezTo>
                  <a:cubicBezTo>
                    <a:pt x="48987" y="490171"/>
                    <a:pt x="91004" y="508925"/>
                    <a:pt x="142758" y="505134"/>
                  </a:cubicBezTo>
                  <a:cubicBezTo>
                    <a:pt x="198303" y="501137"/>
                    <a:pt x="215008" y="475414"/>
                    <a:pt x="217364" y="440570"/>
                  </a:cubicBezTo>
                  <a:cubicBezTo>
                    <a:pt x="222386" y="367500"/>
                    <a:pt x="227203" y="370370"/>
                    <a:pt x="247494" y="322613"/>
                  </a:cubicBezTo>
                  <a:cubicBezTo>
                    <a:pt x="281313" y="242985"/>
                    <a:pt x="189694" y="241755"/>
                    <a:pt x="158335" y="286847"/>
                  </a:cubicBezTo>
                  <a:cubicBezTo>
                    <a:pt x="140708" y="233659"/>
                    <a:pt x="165201" y="191949"/>
                    <a:pt x="247187" y="190104"/>
                  </a:cubicBezTo>
                  <a:cubicBezTo>
                    <a:pt x="289717" y="189182"/>
                    <a:pt x="331939" y="209063"/>
                    <a:pt x="361864" y="248929"/>
                  </a:cubicBezTo>
                  <a:cubicBezTo>
                    <a:pt x="414335" y="109041"/>
                    <a:pt x="522966" y="79321"/>
                    <a:pt x="653221" y="157515"/>
                  </a:cubicBezTo>
                  <a:cubicBezTo>
                    <a:pt x="530344" y="187542"/>
                    <a:pt x="461989" y="253950"/>
                    <a:pt x="424993" y="347414"/>
                  </a:cubicBezTo>
                  <a:cubicBezTo>
                    <a:pt x="344237" y="551660"/>
                    <a:pt x="308061" y="541925"/>
                    <a:pt x="202197" y="562933"/>
                  </a:cubicBezTo>
                  <a:cubicBezTo>
                    <a:pt x="320769" y="658037"/>
                    <a:pt x="457685" y="622578"/>
                    <a:pt x="485867" y="468035"/>
                  </a:cubicBezTo>
                  <a:cubicBezTo>
                    <a:pt x="515792" y="507901"/>
                    <a:pt x="558014" y="527782"/>
                    <a:pt x="600545" y="526860"/>
                  </a:cubicBezTo>
                  <a:cubicBezTo>
                    <a:pt x="682633" y="525015"/>
                    <a:pt x="707024" y="483305"/>
                    <a:pt x="689396" y="430117"/>
                  </a:cubicBezTo>
                  <a:cubicBezTo>
                    <a:pt x="658139" y="475209"/>
                    <a:pt x="566418" y="473979"/>
                    <a:pt x="600237" y="394351"/>
                  </a:cubicBezTo>
                  <a:cubicBezTo>
                    <a:pt x="620529" y="346594"/>
                    <a:pt x="625345" y="349463"/>
                    <a:pt x="630367" y="276394"/>
                  </a:cubicBezTo>
                  <a:cubicBezTo>
                    <a:pt x="632724" y="241550"/>
                    <a:pt x="649429" y="215827"/>
                    <a:pt x="704974" y="211830"/>
                  </a:cubicBezTo>
                  <a:cubicBezTo>
                    <a:pt x="756727" y="208141"/>
                    <a:pt x="798744" y="226895"/>
                    <a:pt x="798232" y="305396"/>
                  </a:cubicBezTo>
                  <a:cubicBezTo>
                    <a:pt x="798028" y="347106"/>
                    <a:pt x="798950" y="387997"/>
                    <a:pt x="798335" y="429399"/>
                  </a:cubicBezTo>
                  <a:cubicBezTo>
                    <a:pt x="796900" y="519174"/>
                    <a:pt x="756625" y="510258"/>
                    <a:pt x="656090" y="558527"/>
                  </a:cubicBezTo>
                  <a:cubicBezTo>
                    <a:pt x="748733" y="575026"/>
                    <a:pt x="808993" y="576871"/>
                    <a:pt x="811042" y="699542"/>
                  </a:cubicBezTo>
                  <a:cubicBezTo>
                    <a:pt x="736948" y="633031"/>
                    <a:pt x="675562" y="628522"/>
                    <a:pt x="594703" y="712864"/>
                  </a:cubicBezTo>
                  <a:cubicBezTo>
                    <a:pt x="559449" y="669105"/>
                    <a:pt x="562319" y="669925"/>
                    <a:pt x="517329" y="644304"/>
                  </a:cubicBezTo>
                  <a:cubicBezTo>
                    <a:pt x="448564" y="675663"/>
                    <a:pt x="406956" y="694828"/>
                    <a:pt x="329480" y="681300"/>
                  </a:cubicBezTo>
                  <a:cubicBezTo>
                    <a:pt x="235709" y="665005"/>
                    <a:pt x="153826" y="612740"/>
                    <a:pt x="88237" y="540695"/>
                  </a:cubicBezTo>
                  <a:cubicBezTo>
                    <a:pt x="89877" y="628624"/>
                    <a:pt x="89365" y="652298"/>
                    <a:pt x="7686" y="706613"/>
                  </a:cubicBezTo>
                  <a:lnTo>
                    <a:pt x="7686" y="746888"/>
                  </a:lnTo>
                  <a:lnTo>
                    <a:pt x="1672199" y="746888"/>
                  </a:lnTo>
                  <a:lnTo>
                    <a:pt x="1672199" y="7050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08151D3F-5600-4BB7-B4AE-3AD8D592B03F}"/>
                </a:ext>
              </a:extLst>
            </p:cNvPr>
            <p:cNvSpPr/>
            <p:nvPr userDrawn="1"/>
          </p:nvSpPr>
          <p:spPr>
            <a:xfrm>
              <a:off x="2286000" y="4320454"/>
              <a:ext cx="1143000" cy="511895"/>
            </a:xfrm>
            <a:custGeom>
              <a:avLst/>
              <a:gdLst>
                <a:gd name="connsiteX0" fmla="*/ 1672506 w 1670455"/>
                <a:gd name="connsiteY0" fmla="*/ 705076 h 748118"/>
                <a:gd name="connsiteX1" fmla="*/ 1591955 w 1670455"/>
                <a:gd name="connsiteY1" fmla="*/ 540695 h 748118"/>
                <a:gd name="connsiteX2" fmla="*/ 1350713 w 1670455"/>
                <a:gd name="connsiteY2" fmla="*/ 681300 h 748118"/>
                <a:gd name="connsiteX3" fmla="*/ 1162863 w 1670455"/>
                <a:gd name="connsiteY3" fmla="*/ 644304 h 748118"/>
                <a:gd name="connsiteX4" fmla="*/ 1085489 w 1670455"/>
                <a:gd name="connsiteY4" fmla="*/ 712864 h 748118"/>
                <a:gd name="connsiteX5" fmla="*/ 869149 w 1670455"/>
                <a:gd name="connsiteY5" fmla="*/ 706101 h 748118"/>
                <a:gd name="connsiteX6" fmla="*/ 1024103 w 1670455"/>
                <a:gd name="connsiteY6" fmla="*/ 562113 h 748118"/>
                <a:gd name="connsiteX7" fmla="*/ 881858 w 1670455"/>
                <a:gd name="connsiteY7" fmla="*/ 432986 h 748118"/>
                <a:gd name="connsiteX8" fmla="*/ 881858 w 1670455"/>
                <a:gd name="connsiteY8" fmla="*/ 308983 h 748118"/>
                <a:gd name="connsiteX9" fmla="*/ 975116 w 1670455"/>
                <a:gd name="connsiteY9" fmla="*/ 215417 h 748118"/>
                <a:gd name="connsiteX10" fmla="*/ 1049723 w 1670455"/>
                <a:gd name="connsiteY10" fmla="*/ 279981 h 748118"/>
                <a:gd name="connsiteX11" fmla="*/ 1079853 w 1670455"/>
                <a:gd name="connsiteY11" fmla="*/ 397937 h 748118"/>
                <a:gd name="connsiteX12" fmla="*/ 990694 w 1670455"/>
                <a:gd name="connsiteY12" fmla="*/ 433704 h 748118"/>
                <a:gd name="connsiteX13" fmla="*/ 1079545 w 1670455"/>
                <a:gd name="connsiteY13" fmla="*/ 530447 h 748118"/>
                <a:gd name="connsiteX14" fmla="*/ 1194223 w 1670455"/>
                <a:gd name="connsiteY14" fmla="*/ 471622 h 748118"/>
                <a:gd name="connsiteX15" fmla="*/ 1485579 w 1670455"/>
                <a:gd name="connsiteY15" fmla="*/ 563036 h 748118"/>
                <a:gd name="connsiteX16" fmla="*/ 1257351 w 1670455"/>
                <a:gd name="connsiteY16" fmla="*/ 373137 h 748118"/>
                <a:gd name="connsiteX17" fmla="*/ 1034453 w 1670455"/>
                <a:gd name="connsiteY17" fmla="*/ 157617 h 748118"/>
                <a:gd name="connsiteX18" fmla="*/ 1318124 w 1670455"/>
                <a:gd name="connsiteY18" fmla="*/ 252516 h 748118"/>
                <a:gd name="connsiteX19" fmla="*/ 1432800 w 1670455"/>
                <a:gd name="connsiteY19" fmla="*/ 193691 h 748118"/>
                <a:gd name="connsiteX20" fmla="*/ 1521653 w 1670455"/>
                <a:gd name="connsiteY20" fmla="*/ 290434 h 748118"/>
                <a:gd name="connsiteX21" fmla="*/ 1432493 w 1670455"/>
                <a:gd name="connsiteY21" fmla="*/ 326200 h 748118"/>
                <a:gd name="connsiteX22" fmla="*/ 1462623 w 1670455"/>
                <a:gd name="connsiteY22" fmla="*/ 444157 h 748118"/>
                <a:gd name="connsiteX23" fmla="*/ 1537229 w 1670455"/>
                <a:gd name="connsiteY23" fmla="*/ 508720 h 748118"/>
                <a:gd name="connsiteX24" fmla="*/ 1630488 w 1670455"/>
                <a:gd name="connsiteY24" fmla="*/ 415154 h 748118"/>
                <a:gd name="connsiteX25" fmla="*/ 1630591 w 1670455"/>
                <a:gd name="connsiteY25" fmla="*/ 291151 h 748118"/>
                <a:gd name="connsiteX26" fmla="*/ 1488346 w 1670455"/>
                <a:gd name="connsiteY26" fmla="*/ 162024 h 748118"/>
                <a:gd name="connsiteX27" fmla="*/ 1643299 w 1670455"/>
                <a:gd name="connsiteY27" fmla="*/ 21009 h 748118"/>
                <a:gd name="connsiteX28" fmla="*/ 1426959 w 1670455"/>
                <a:gd name="connsiteY28" fmla="*/ 7686 h 748118"/>
                <a:gd name="connsiteX29" fmla="*/ 1349585 w 1670455"/>
                <a:gd name="connsiteY29" fmla="*/ 76247 h 748118"/>
                <a:gd name="connsiteX30" fmla="*/ 1161736 w 1670455"/>
                <a:gd name="connsiteY30" fmla="*/ 39251 h 748118"/>
                <a:gd name="connsiteX31" fmla="*/ 920493 w 1670455"/>
                <a:gd name="connsiteY31" fmla="*/ 179856 h 748118"/>
                <a:gd name="connsiteX32" fmla="*/ 839942 w 1670455"/>
                <a:gd name="connsiteY32" fmla="*/ 13528 h 748118"/>
                <a:gd name="connsiteX33" fmla="*/ 759392 w 1670455"/>
                <a:gd name="connsiteY33" fmla="*/ 179856 h 748118"/>
                <a:gd name="connsiteX34" fmla="*/ 518251 w 1670455"/>
                <a:gd name="connsiteY34" fmla="*/ 39251 h 748118"/>
                <a:gd name="connsiteX35" fmla="*/ 330402 w 1670455"/>
                <a:gd name="connsiteY35" fmla="*/ 76247 h 748118"/>
                <a:gd name="connsiteX36" fmla="*/ 253028 w 1670455"/>
                <a:gd name="connsiteY36" fmla="*/ 7686 h 748118"/>
                <a:gd name="connsiteX37" fmla="*/ 36689 w 1670455"/>
                <a:gd name="connsiteY37" fmla="*/ 14450 h 748118"/>
                <a:gd name="connsiteX38" fmla="*/ 191641 w 1670455"/>
                <a:gd name="connsiteY38" fmla="*/ 158437 h 748118"/>
                <a:gd name="connsiteX39" fmla="*/ 49396 w 1670455"/>
                <a:gd name="connsiteY39" fmla="*/ 287564 h 748118"/>
                <a:gd name="connsiteX40" fmla="*/ 49499 w 1670455"/>
                <a:gd name="connsiteY40" fmla="*/ 411568 h 748118"/>
                <a:gd name="connsiteX41" fmla="*/ 142758 w 1670455"/>
                <a:gd name="connsiteY41" fmla="*/ 505134 h 748118"/>
                <a:gd name="connsiteX42" fmla="*/ 217364 w 1670455"/>
                <a:gd name="connsiteY42" fmla="*/ 440570 h 748118"/>
                <a:gd name="connsiteX43" fmla="*/ 247494 w 1670455"/>
                <a:gd name="connsiteY43" fmla="*/ 322613 h 748118"/>
                <a:gd name="connsiteX44" fmla="*/ 158335 w 1670455"/>
                <a:gd name="connsiteY44" fmla="*/ 286847 h 748118"/>
                <a:gd name="connsiteX45" fmla="*/ 247187 w 1670455"/>
                <a:gd name="connsiteY45" fmla="*/ 190104 h 748118"/>
                <a:gd name="connsiteX46" fmla="*/ 361864 w 1670455"/>
                <a:gd name="connsiteY46" fmla="*/ 248929 h 748118"/>
                <a:gd name="connsiteX47" fmla="*/ 653221 w 1670455"/>
                <a:gd name="connsiteY47" fmla="*/ 157515 h 748118"/>
                <a:gd name="connsiteX48" fmla="*/ 424993 w 1670455"/>
                <a:gd name="connsiteY48" fmla="*/ 347414 h 748118"/>
                <a:gd name="connsiteX49" fmla="*/ 202197 w 1670455"/>
                <a:gd name="connsiteY49" fmla="*/ 562933 h 748118"/>
                <a:gd name="connsiteX50" fmla="*/ 485867 w 1670455"/>
                <a:gd name="connsiteY50" fmla="*/ 468035 h 748118"/>
                <a:gd name="connsiteX51" fmla="*/ 600545 w 1670455"/>
                <a:gd name="connsiteY51" fmla="*/ 526860 h 748118"/>
                <a:gd name="connsiteX52" fmla="*/ 689396 w 1670455"/>
                <a:gd name="connsiteY52" fmla="*/ 430117 h 748118"/>
                <a:gd name="connsiteX53" fmla="*/ 600237 w 1670455"/>
                <a:gd name="connsiteY53" fmla="*/ 394351 h 748118"/>
                <a:gd name="connsiteX54" fmla="*/ 630367 w 1670455"/>
                <a:gd name="connsiteY54" fmla="*/ 276394 h 748118"/>
                <a:gd name="connsiteX55" fmla="*/ 704974 w 1670455"/>
                <a:gd name="connsiteY55" fmla="*/ 211830 h 748118"/>
                <a:gd name="connsiteX56" fmla="*/ 798232 w 1670455"/>
                <a:gd name="connsiteY56" fmla="*/ 305396 h 748118"/>
                <a:gd name="connsiteX57" fmla="*/ 798335 w 1670455"/>
                <a:gd name="connsiteY57" fmla="*/ 429399 h 748118"/>
                <a:gd name="connsiteX58" fmla="*/ 656090 w 1670455"/>
                <a:gd name="connsiteY58" fmla="*/ 558527 h 748118"/>
                <a:gd name="connsiteX59" fmla="*/ 811042 w 1670455"/>
                <a:gd name="connsiteY59" fmla="*/ 699542 h 748118"/>
                <a:gd name="connsiteX60" fmla="*/ 594703 w 1670455"/>
                <a:gd name="connsiteY60" fmla="*/ 712864 h 748118"/>
                <a:gd name="connsiteX61" fmla="*/ 517329 w 1670455"/>
                <a:gd name="connsiteY61" fmla="*/ 644304 h 748118"/>
                <a:gd name="connsiteX62" fmla="*/ 329480 w 1670455"/>
                <a:gd name="connsiteY62" fmla="*/ 681300 h 748118"/>
                <a:gd name="connsiteX63" fmla="*/ 88237 w 1670455"/>
                <a:gd name="connsiteY63" fmla="*/ 540695 h 748118"/>
                <a:gd name="connsiteX64" fmla="*/ 7686 w 1670455"/>
                <a:gd name="connsiteY64" fmla="*/ 706613 h 748118"/>
                <a:gd name="connsiteX65" fmla="*/ 7686 w 1670455"/>
                <a:gd name="connsiteY65" fmla="*/ 746888 h 748118"/>
                <a:gd name="connsiteX66" fmla="*/ 1672199 w 1670455"/>
                <a:gd name="connsiteY66" fmla="*/ 746888 h 748118"/>
                <a:gd name="connsiteX67" fmla="*/ 1672199 w 1670455"/>
                <a:gd name="connsiteY67" fmla="*/ 705076 h 74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70455" h="748118">
                  <a:moveTo>
                    <a:pt x="1672506" y="705076"/>
                  </a:moveTo>
                  <a:cubicBezTo>
                    <a:pt x="1606200" y="663776"/>
                    <a:pt x="1590316" y="628624"/>
                    <a:pt x="1591955" y="540695"/>
                  </a:cubicBezTo>
                  <a:cubicBezTo>
                    <a:pt x="1526469" y="612740"/>
                    <a:pt x="1444586" y="665005"/>
                    <a:pt x="1350713" y="681300"/>
                  </a:cubicBezTo>
                  <a:cubicBezTo>
                    <a:pt x="1273338" y="694828"/>
                    <a:pt x="1231731" y="675663"/>
                    <a:pt x="1162863" y="644304"/>
                  </a:cubicBezTo>
                  <a:cubicBezTo>
                    <a:pt x="1117976" y="670027"/>
                    <a:pt x="1120743" y="669207"/>
                    <a:pt x="1085489" y="712864"/>
                  </a:cubicBezTo>
                  <a:cubicBezTo>
                    <a:pt x="1004631" y="628522"/>
                    <a:pt x="943244" y="633031"/>
                    <a:pt x="869149" y="706101"/>
                  </a:cubicBezTo>
                  <a:cubicBezTo>
                    <a:pt x="869355" y="578511"/>
                    <a:pt x="931459" y="578511"/>
                    <a:pt x="1024103" y="562113"/>
                  </a:cubicBezTo>
                  <a:cubicBezTo>
                    <a:pt x="923568" y="513844"/>
                    <a:pt x="883190" y="522760"/>
                    <a:pt x="881858" y="432986"/>
                  </a:cubicBezTo>
                  <a:cubicBezTo>
                    <a:pt x="881243" y="391584"/>
                    <a:pt x="882165" y="350591"/>
                    <a:pt x="881858" y="308983"/>
                  </a:cubicBezTo>
                  <a:cubicBezTo>
                    <a:pt x="881345" y="230379"/>
                    <a:pt x="923363" y="211625"/>
                    <a:pt x="975116" y="215417"/>
                  </a:cubicBezTo>
                  <a:cubicBezTo>
                    <a:pt x="1030661" y="219414"/>
                    <a:pt x="1047366" y="245137"/>
                    <a:pt x="1049723" y="279981"/>
                  </a:cubicBezTo>
                  <a:cubicBezTo>
                    <a:pt x="1054745" y="353050"/>
                    <a:pt x="1059561" y="350181"/>
                    <a:pt x="1079853" y="397937"/>
                  </a:cubicBezTo>
                  <a:cubicBezTo>
                    <a:pt x="1113672" y="477566"/>
                    <a:pt x="1022053" y="478796"/>
                    <a:pt x="990694" y="433704"/>
                  </a:cubicBezTo>
                  <a:cubicBezTo>
                    <a:pt x="973066" y="486892"/>
                    <a:pt x="997457" y="528602"/>
                    <a:pt x="1079545" y="530447"/>
                  </a:cubicBezTo>
                  <a:cubicBezTo>
                    <a:pt x="1122076" y="531369"/>
                    <a:pt x="1164298" y="511487"/>
                    <a:pt x="1194223" y="471622"/>
                  </a:cubicBezTo>
                  <a:cubicBezTo>
                    <a:pt x="1246693" y="611510"/>
                    <a:pt x="1355324" y="641230"/>
                    <a:pt x="1485579" y="563036"/>
                  </a:cubicBezTo>
                  <a:cubicBezTo>
                    <a:pt x="1362703" y="533009"/>
                    <a:pt x="1294348" y="466600"/>
                    <a:pt x="1257351" y="373137"/>
                  </a:cubicBezTo>
                  <a:cubicBezTo>
                    <a:pt x="1176493" y="168788"/>
                    <a:pt x="1140420" y="178626"/>
                    <a:pt x="1034453" y="157617"/>
                  </a:cubicBezTo>
                  <a:cubicBezTo>
                    <a:pt x="1153025" y="62514"/>
                    <a:pt x="1289941" y="97973"/>
                    <a:pt x="1318124" y="252516"/>
                  </a:cubicBezTo>
                  <a:cubicBezTo>
                    <a:pt x="1348048" y="212650"/>
                    <a:pt x="1390271" y="192769"/>
                    <a:pt x="1432800" y="193691"/>
                  </a:cubicBezTo>
                  <a:cubicBezTo>
                    <a:pt x="1514888" y="195536"/>
                    <a:pt x="1539279" y="237246"/>
                    <a:pt x="1521653" y="290434"/>
                  </a:cubicBezTo>
                  <a:cubicBezTo>
                    <a:pt x="1490293" y="245342"/>
                    <a:pt x="1398674" y="246572"/>
                    <a:pt x="1432493" y="326200"/>
                  </a:cubicBezTo>
                  <a:cubicBezTo>
                    <a:pt x="1452784" y="373957"/>
                    <a:pt x="1457601" y="371087"/>
                    <a:pt x="1462623" y="444157"/>
                  </a:cubicBezTo>
                  <a:cubicBezTo>
                    <a:pt x="1464980" y="479001"/>
                    <a:pt x="1481684" y="504724"/>
                    <a:pt x="1537229" y="508720"/>
                  </a:cubicBezTo>
                  <a:cubicBezTo>
                    <a:pt x="1588983" y="512410"/>
                    <a:pt x="1631001" y="493656"/>
                    <a:pt x="1630488" y="415154"/>
                  </a:cubicBezTo>
                  <a:cubicBezTo>
                    <a:pt x="1630181" y="373444"/>
                    <a:pt x="1631206" y="332554"/>
                    <a:pt x="1630591" y="291151"/>
                  </a:cubicBezTo>
                  <a:cubicBezTo>
                    <a:pt x="1629156" y="201377"/>
                    <a:pt x="1588881" y="210293"/>
                    <a:pt x="1488346" y="162024"/>
                  </a:cubicBezTo>
                  <a:cubicBezTo>
                    <a:pt x="1580989" y="145524"/>
                    <a:pt x="1641249" y="143680"/>
                    <a:pt x="1643299" y="21009"/>
                  </a:cubicBezTo>
                  <a:cubicBezTo>
                    <a:pt x="1569204" y="87520"/>
                    <a:pt x="1507817" y="92029"/>
                    <a:pt x="1426959" y="7686"/>
                  </a:cubicBezTo>
                  <a:cubicBezTo>
                    <a:pt x="1391706" y="51446"/>
                    <a:pt x="1394575" y="50626"/>
                    <a:pt x="1349585" y="76247"/>
                  </a:cubicBezTo>
                  <a:cubicBezTo>
                    <a:pt x="1280820" y="44887"/>
                    <a:pt x="1239212" y="25723"/>
                    <a:pt x="1161736" y="39251"/>
                  </a:cubicBezTo>
                  <a:cubicBezTo>
                    <a:pt x="1067965" y="55545"/>
                    <a:pt x="986082" y="107811"/>
                    <a:pt x="920493" y="179856"/>
                  </a:cubicBezTo>
                  <a:cubicBezTo>
                    <a:pt x="922133" y="91926"/>
                    <a:pt x="921621" y="68253"/>
                    <a:pt x="839942" y="13528"/>
                  </a:cubicBezTo>
                  <a:cubicBezTo>
                    <a:pt x="773637" y="56775"/>
                    <a:pt x="757752" y="91926"/>
                    <a:pt x="759392" y="179856"/>
                  </a:cubicBezTo>
                  <a:cubicBezTo>
                    <a:pt x="693906" y="107811"/>
                    <a:pt x="612023" y="55545"/>
                    <a:pt x="518251" y="39251"/>
                  </a:cubicBezTo>
                  <a:cubicBezTo>
                    <a:pt x="440878" y="25723"/>
                    <a:pt x="399167" y="44887"/>
                    <a:pt x="330402" y="76247"/>
                  </a:cubicBezTo>
                  <a:cubicBezTo>
                    <a:pt x="285515" y="50524"/>
                    <a:pt x="288282" y="51343"/>
                    <a:pt x="253028" y="7686"/>
                  </a:cubicBezTo>
                  <a:cubicBezTo>
                    <a:pt x="172170" y="92029"/>
                    <a:pt x="110783" y="87520"/>
                    <a:pt x="36689" y="14450"/>
                  </a:cubicBezTo>
                  <a:cubicBezTo>
                    <a:pt x="36894" y="142040"/>
                    <a:pt x="98998" y="141938"/>
                    <a:pt x="191641" y="158437"/>
                  </a:cubicBezTo>
                  <a:cubicBezTo>
                    <a:pt x="91107" y="206706"/>
                    <a:pt x="50831" y="197790"/>
                    <a:pt x="49396" y="287564"/>
                  </a:cubicBezTo>
                  <a:cubicBezTo>
                    <a:pt x="48782" y="328967"/>
                    <a:pt x="49704" y="369960"/>
                    <a:pt x="49499" y="411568"/>
                  </a:cubicBezTo>
                  <a:cubicBezTo>
                    <a:pt x="48987" y="490171"/>
                    <a:pt x="91004" y="508925"/>
                    <a:pt x="142758" y="505134"/>
                  </a:cubicBezTo>
                  <a:cubicBezTo>
                    <a:pt x="198303" y="501137"/>
                    <a:pt x="215008" y="475414"/>
                    <a:pt x="217364" y="440570"/>
                  </a:cubicBezTo>
                  <a:cubicBezTo>
                    <a:pt x="222386" y="367500"/>
                    <a:pt x="227203" y="370370"/>
                    <a:pt x="247494" y="322613"/>
                  </a:cubicBezTo>
                  <a:cubicBezTo>
                    <a:pt x="281313" y="242985"/>
                    <a:pt x="189694" y="241755"/>
                    <a:pt x="158335" y="286847"/>
                  </a:cubicBezTo>
                  <a:cubicBezTo>
                    <a:pt x="140708" y="233659"/>
                    <a:pt x="165201" y="191949"/>
                    <a:pt x="247187" y="190104"/>
                  </a:cubicBezTo>
                  <a:cubicBezTo>
                    <a:pt x="289717" y="189182"/>
                    <a:pt x="331939" y="209063"/>
                    <a:pt x="361864" y="248929"/>
                  </a:cubicBezTo>
                  <a:cubicBezTo>
                    <a:pt x="414335" y="109041"/>
                    <a:pt x="522966" y="79321"/>
                    <a:pt x="653221" y="157515"/>
                  </a:cubicBezTo>
                  <a:cubicBezTo>
                    <a:pt x="530344" y="187542"/>
                    <a:pt x="461989" y="253950"/>
                    <a:pt x="424993" y="347414"/>
                  </a:cubicBezTo>
                  <a:cubicBezTo>
                    <a:pt x="344237" y="551660"/>
                    <a:pt x="308061" y="541925"/>
                    <a:pt x="202197" y="562933"/>
                  </a:cubicBezTo>
                  <a:cubicBezTo>
                    <a:pt x="320769" y="658037"/>
                    <a:pt x="457685" y="622578"/>
                    <a:pt x="485867" y="468035"/>
                  </a:cubicBezTo>
                  <a:cubicBezTo>
                    <a:pt x="515792" y="507901"/>
                    <a:pt x="558014" y="527782"/>
                    <a:pt x="600545" y="526860"/>
                  </a:cubicBezTo>
                  <a:cubicBezTo>
                    <a:pt x="682633" y="525015"/>
                    <a:pt x="707024" y="483305"/>
                    <a:pt x="689396" y="430117"/>
                  </a:cubicBezTo>
                  <a:cubicBezTo>
                    <a:pt x="658139" y="475209"/>
                    <a:pt x="566418" y="473979"/>
                    <a:pt x="600237" y="394351"/>
                  </a:cubicBezTo>
                  <a:cubicBezTo>
                    <a:pt x="620529" y="346594"/>
                    <a:pt x="625345" y="349463"/>
                    <a:pt x="630367" y="276394"/>
                  </a:cubicBezTo>
                  <a:cubicBezTo>
                    <a:pt x="632724" y="241550"/>
                    <a:pt x="649429" y="215827"/>
                    <a:pt x="704974" y="211830"/>
                  </a:cubicBezTo>
                  <a:cubicBezTo>
                    <a:pt x="756727" y="208141"/>
                    <a:pt x="798744" y="226895"/>
                    <a:pt x="798232" y="305396"/>
                  </a:cubicBezTo>
                  <a:cubicBezTo>
                    <a:pt x="798028" y="347106"/>
                    <a:pt x="798950" y="387997"/>
                    <a:pt x="798335" y="429399"/>
                  </a:cubicBezTo>
                  <a:cubicBezTo>
                    <a:pt x="796900" y="519174"/>
                    <a:pt x="756625" y="510258"/>
                    <a:pt x="656090" y="558527"/>
                  </a:cubicBezTo>
                  <a:cubicBezTo>
                    <a:pt x="748733" y="575026"/>
                    <a:pt x="808993" y="576871"/>
                    <a:pt x="811042" y="699542"/>
                  </a:cubicBezTo>
                  <a:cubicBezTo>
                    <a:pt x="736948" y="633031"/>
                    <a:pt x="675562" y="628522"/>
                    <a:pt x="594703" y="712864"/>
                  </a:cubicBezTo>
                  <a:cubicBezTo>
                    <a:pt x="559449" y="669105"/>
                    <a:pt x="562319" y="669925"/>
                    <a:pt x="517329" y="644304"/>
                  </a:cubicBezTo>
                  <a:cubicBezTo>
                    <a:pt x="448564" y="675663"/>
                    <a:pt x="406956" y="694828"/>
                    <a:pt x="329480" y="681300"/>
                  </a:cubicBezTo>
                  <a:cubicBezTo>
                    <a:pt x="235709" y="665005"/>
                    <a:pt x="153826" y="612740"/>
                    <a:pt x="88237" y="540695"/>
                  </a:cubicBezTo>
                  <a:cubicBezTo>
                    <a:pt x="89877" y="628624"/>
                    <a:pt x="89365" y="652298"/>
                    <a:pt x="7686" y="706613"/>
                  </a:cubicBezTo>
                  <a:lnTo>
                    <a:pt x="7686" y="746888"/>
                  </a:lnTo>
                  <a:lnTo>
                    <a:pt x="1672199" y="746888"/>
                  </a:lnTo>
                  <a:lnTo>
                    <a:pt x="1672199" y="7050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3D3CFFFC-86B4-4D8C-8AEA-C2C4E115B957}"/>
                </a:ext>
              </a:extLst>
            </p:cNvPr>
            <p:cNvSpPr/>
            <p:nvPr userDrawn="1"/>
          </p:nvSpPr>
          <p:spPr>
            <a:xfrm>
              <a:off x="3429000" y="4320454"/>
              <a:ext cx="1143000" cy="511895"/>
            </a:xfrm>
            <a:custGeom>
              <a:avLst/>
              <a:gdLst>
                <a:gd name="connsiteX0" fmla="*/ 1672506 w 1670455"/>
                <a:gd name="connsiteY0" fmla="*/ 705076 h 748118"/>
                <a:gd name="connsiteX1" fmla="*/ 1591955 w 1670455"/>
                <a:gd name="connsiteY1" fmla="*/ 540695 h 748118"/>
                <a:gd name="connsiteX2" fmla="*/ 1350713 w 1670455"/>
                <a:gd name="connsiteY2" fmla="*/ 681300 h 748118"/>
                <a:gd name="connsiteX3" fmla="*/ 1162863 w 1670455"/>
                <a:gd name="connsiteY3" fmla="*/ 644304 h 748118"/>
                <a:gd name="connsiteX4" fmla="*/ 1085489 w 1670455"/>
                <a:gd name="connsiteY4" fmla="*/ 712864 h 748118"/>
                <a:gd name="connsiteX5" fmla="*/ 869149 w 1670455"/>
                <a:gd name="connsiteY5" fmla="*/ 706101 h 748118"/>
                <a:gd name="connsiteX6" fmla="*/ 1024103 w 1670455"/>
                <a:gd name="connsiteY6" fmla="*/ 562113 h 748118"/>
                <a:gd name="connsiteX7" fmla="*/ 881858 w 1670455"/>
                <a:gd name="connsiteY7" fmla="*/ 432986 h 748118"/>
                <a:gd name="connsiteX8" fmla="*/ 881858 w 1670455"/>
                <a:gd name="connsiteY8" fmla="*/ 308983 h 748118"/>
                <a:gd name="connsiteX9" fmla="*/ 975116 w 1670455"/>
                <a:gd name="connsiteY9" fmla="*/ 215417 h 748118"/>
                <a:gd name="connsiteX10" fmla="*/ 1049723 w 1670455"/>
                <a:gd name="connsiteY10" fmla="*/ 279981 h 748118"/>
                <a:gd name="connsiteX11" fmla="*/ 1079853 w 1670455"/>
                <a:gd name="connsiteY11" fmla="*/ 397937 h 748118"/>
                <a:gd name="connsiteX12" fmla="*/ 990694 w 1670455"/>
                <a:gd name="connsiteY12" fmla="*/ 433704 h 748118"/>
                <a:gd name="connsiteX13" fmla="*/ 1079545 w 1670455"/>
                <a:gd name="connsiteY13" fmla="*/ 530447 h 748118"/>
                <a:gd name="connsiteX14" fmla="*/ 1194223 w 1670455"/>
                <a:gd name="connsiteY14" fmla="*/ 471622 h 748118"/>
                <a:gd name="connsiteX15" fmla="*/ 1485579 w 1670455"/>
                <a:gd name="connsiteY15" fmla="*/ 563036 h 748118"/>
                <a:gd name="connsiteX16" fmla="*/ 1257351 w 1670455"/>
                <a:gd name="connsiteY16" fmla="*/ 373137 h 748118"/>
                <a:gd name="connsiteX17" fmla="*/ 1034453 w 1670455"/>
                <a:gd name="connsiteY17" fmla="*/ 157617 h 748118"/>
                <a:gd name="connsiteX18" fmla="*/ 1318124 w 1670455"/>
                <a:gd name="connsiteY18" fmla="*/ 252516 h 748118"/>
                <a:gd name="connsiteX19" fmla="*/ 1432800 w 1670455"/>
                <a:gd name="connsiteY19" fmla="*/ 193691 h 748118"/>
                <a:gd name="connsiteX20" fmla="*/ 1521653 w 1670455"/>
                <a:gd name="connsiteY20" fmla="*/ 290434 h 748118"/>
                <a:gd name="connsiteX21" fmla="*/ 1432493 w 1670455"/>
                <a:gd name="connsiteY21" fmla="*/ 326200 h 748118"/>
                <a:gd name="connsiteX22" fmla="*/ 1462623 w 1670455"/>
                <a:gd name="connsiteY22" fmla="*/ 444157 h 748118"/>
                <a:gd name="connsiteX23" fmla="*/ 1537229 w 1670455"/>
                <a:gd name="connsiteY23" fmla="*/ 508720 h 748118"/>
                <a:gd name="connsiteX24" fmla="*/ 1630488 w 1670455"/>
                <a:gd name="connsiteY24" fmla="*/ 415154 h 748118"/>
                <a:gd name="connsiteX25" fmla="*/ 1630591 w 1670455"/>
                <a:gd name="connsiteY25" fmla="*/ 291151 h 748118"/>
                <a:gd name="connsiteX26" fmla="*/ 1488346 w 1670455"/>
                <a:gd name="connsiteY26" fmla="*/ 162024 h 748118"/>
                <a:gd name="connsiteX27" fmla="*/ 1643299 w 1670455"/>
                <a:gd name="connsiteY27" fmla="*/ 21009 h 748118"/>
                <a:gd name="connsiteX28" fmla="*/ 1426959 w 1670455"/>
                <a:gd name="connsiteY28" fmla="*/ 7686 h 748118"/>
                <a:gd name="connsiteX29" fmla="*/ 1349585 w 1670455"/>
                <a:gd name="connsiteY29" fmla="*/ 76247 h 748118"/>
                <a:gd name="connsiteX30" fmla="*/ 1161736 w 1670455"/>
                <a:gd name="connsiteY30" fmla="*/ 39251 h 748118"/>
                <a:gd name="connsiteX31" fmla="*/ 920493 w 1670455"/>
                <a:gd name="connsiteY31" fmla="*/ 179856 h 748118"/>
                <a:gd name="connsiteX32" fmla="*/ 839942 w 1670455"/>
                <a:gd name="connsiteY32" fmla="*/ 13528 h 748118"/>
                <a:gd name="connsiteX33" fmla="*/ 759392 w 1670455"/>
                <a:gd name="connsiteY33" fmla="*/ 179856 h 748118"/>
                <a:gd name="connsiteX34" fmla="*/ 518251 w 1670455"/>
                <a:gd name="connsiteY34" fmla="*/ 39251 h 748118"/>
                <a:gd name="connsiteX35" fmla="*/ 330402 w 1670455"/>
                <a:gd name="connsiteY35" fmla="*/ 76247 h 748118"/>
                <a:gd name="connsiteX36" fmla="*/ 253028 w 1670455"/>
                <a:gd name="connsiteY36" fmla="*/ 7686 h 748118"/>
                <a:gd name="connsiteX37" fmla="*/ 36689 w 1670455"/>
                <a:gd name="connsiteY37" fmla="*/ 14450 h 748118"/>
                <a:gd name="connsiteX38" fmla="*/ 191641 w 1670455"/>
                <a:gd name="connsiteY38" fmla="*/ 158437 h 748118"/>
                <a:gd name="connsiteX39" fmla="*/ 49396 w 1670455"/>
                <a:gd name="connsiteY39" fmla="*/ 287564 h 748118"/>
                <a:gd name="connsiteX40" fmla="*/ 49499 w 1670455"/>
                <a:gd name="connsiteY40" fmla="*/ 411568 h 748118"/>
                <a:gd name="connsiteX41" fmla="*/ 142758 w 1670455"/>
                <a:gd name="connsiteY41" fmla="*/ 505134 h 748118"/>
                <a:gd name="connsiteX42" fmla="*/ 217364 w 1670455"/>
                <a:gd name="connsiteY42" fmla="*/ 440570 h 748118"/>
                <a:gd name="connsiteX43" fmla="*/ 247494 w 1670455"/>
                <a:gd name="connsiteY43" fmla="*/ 322613 h 748118"/>
                <a:gd name="connsiteX44" fmla="*/ 158335 w 1670455"/>
                <a:gd name="connsiteY44" fmla="*/ 286847 h 748118"/>
                <a:gd name="connsiteX45" fmla="*/ 247187 w 1670455"/>
                <a:gd name="connsiteY45" fmla="*/ 190104 h 748118"/>
                <a:gd name="connsiteX46" fmla="*/ 361864 w 1670455"/>
                <a:gd name="connsiteY46" fmla="*/ 248929 h 748118"/>
                <a:gd name="connsiteX47" fmla="*/ 653221 w 1670455"/>
                <a:gd name="connsiteY47" fmla="*/ 157515 h 748118"/>
                <a:gd name="connsiteX48" fmla="*/ 424993 w 1670455"/>
                <a:gd name="connsiteY48" fmla="*/ 347414 h 748118"/>
                <a:gd name="connsiteX49" fmla="*/ 202197 w 1670455"/>
                <a:gd name="connsiteY49" fmla="*/ 562933 h 748118"/>
                <a:gd name="connsiteX50" fmla="*/ 485867 w 1670455"/>
                <a:gd name="connsiteY50" fmla="*/ 468035 h 748118"/>
                <a:gd name="connsiteX51" fmla="*/ 600545 w 1670455"/>
                <a:gd name="connsiteY51" fmla="*/ 526860 h 748118"/>
                <a:gd name="connsiteX52" fmla="*/ 689396 w 1670455"/>
                <a:gd name="connsiteY52" fmla="*/ 430117 h 748118"/>
                <a:gd name="connsiteX53" fmla="*/ 600237 w 1670455"/>
                <a:gd name="connsiteY53" fmla="*/ 394351 h 748118"/>
                <a:gd name="connsiteX54" fmla="*/ 630367 w 1670455"/>
                <a:gd name="connsiteY54" fmla="*/ 276394 h 748118"/>
                <a:gd name="connsiteX55" fmla="*/ 704974 w 1670455"/>
                <a:gd name="connsiteY55" fmla="*/ 211830 h 748118"/>
                <a:gd name="connsiteX56" fmla="*/ 798232 w 1670455"/>
                <a:gd name="connsiteY56" fmla="*/ 305396 h 748118"/>
                <a:gd name="connsiteX57" fmla="*/ 798335 w 1670455"/>
                <a:gd name="connsiteY57" fmla="*/ 429399 h 748118"/>
                <a:gd name="connsiteX58" fmla="*/ 656090 w 1670455"/>
                <a:gd name="connsiteY58" fmla="*/ 558527 h 748118"/>
                <a:gd name="connsiteX59" fmla="*/ 811042 w 1670455"/>
                <a:gd name="connsiteY59" fmla="*/ 699542 h 748118"/>
                <a:gd name="connsiteX60" fmla="*/ 594703 w 1670455"/>
                <a:gd name="connsiteY60" fmla="*/ 712864 h 748118"/>
                <a:gd name="connsiteX61" fmla="*/ 517329 w 1670455"/>
                <a:gd name="connsiteY61" fmla="*/ 644304 h 748118"/>
                <a:gd name="connsiteX62" fmla="*/ 329480 w 1670455"/>
                <a:gd name="connsiteY62" fmla="*/ 681300 h 748118"/>
                <a:gd name="connsiteX63" fmla="*/ 88237 w 1670455"/>
                <a:gd name="connsiteY63" fmla="*/ 540695 h 748118"/>
                <a:gd name="connsiteX64" fmla="*/ 7686 w 1670455"/>
                <a:gd name="connsiteY64" fmla="*/ 706613 h 748118"/>
                <a:gd name="connsiteX65" fmla="*/ 7686 w 1670455"/>
                <a:gd name="connsiteY65" fmla="*/ 746888 h 748118"/>
                <a:gd name="connsiteX66" fmla="*/ 1672199 w 1670455"/>
                <a:gd name="connsiteY66" fmla="*/ 746888 h 748118"/>
                <a:gd name="connsiteX67" fmla="*/ 1672199 w 1670455"/>
                <a:gd name="connsiteY67" fmla="*/ 705076 h 74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70455" h="748118">
                  <a:moveTo>
                    <a:pt x="1672506" y="705076"/>
                  </a:moveTo>
                  <a:cubicBezTo>
                    <a:pt x="1606200" y="663776"/>
                    <a:pt x="1590316" y="628624"/>
                    <a:pt x="1591955" y="540695"/>
                  </a:cubicBezTo>
                  <a:cubicBezTo>
                    <a:pt x="1526469" y="612740"/>
                    <a:pt x="1444586" y="665005"/>
                    <a:pt x="1350713" y="681300"/>
                  </a:cubicBezTo>
                  <a:cubicBezTo>
                    <a:pt x="1273338" y="694828"/>
                    <a:pt x="1231731" y="675663"/>
                    <a:pt x="1162863" y="644304"/>
                  </a:cubicBezTo>
                  <a:cubicBezTo>
                    <a:pt x="1117976" y="670027"/>
                    <a:pt x="1120743" y="669207"/>
                    <a:pt x="1085489" y="712864"/>
                  </a:cubicBezTo>
                  <a:cubicBezTo>
                    <a:pt x="1004631" y="628522"/>
                    <a:pt x="943244" y="633031"/>
                    <a:pt x="869149" y="706101"/>
                  </a:cubicBezTo>
                  <a:cubicBezTo>
                    <a:pt x="869355" y="578511"/>
                    <a:pt x="931459" y="578511"/>
                    <a:pt x="1024103" y="562113"/>
                  </a:cubicBezTo>
                  <a:cubicBezTo>
                    <a:pt x="923568" y="513844"/>
                    <a:pt x="883190" y="522760"/>
                    <a:pt x="881858" y="432986"/>
                  </a:cubicBezTo>
                  <a:cubicBezTo>
                    <a:pt x="881243" y="391584"/>
                    <a:pt x="882165" y="350591"/>
                    <a:pt x="881858" y="308983"/>
                  </a:cubicBezTo>
                  <a:cubicBezTo>
                    <a:pt x="881345" y="230379"/>
                    <a:pt x="923363" y="211625"/>
                    <a:pt x="975116" y="215417"/>
                  </a:cubicBezTo>
                  <a:cubicBezTo>
                    <a:pt x="1030661" y="219414"/>
                    <a:pt x="1047366" y="245137"/>
                    <a:pt x="1049723" y="279981"/>
                  </a:cubicBezTo>
                  <a:cubicBezTo>
                    <a:pt x="1054745" y="353050"/>
                    <a:pt x="1059561" y="350181"/>
                    <a:pt x="1079853" y="397937"/>
                  </a:cubicBezTo>
                  <a:cubicBezTo>
                    <a:pt x="1113672" y="477566"/>
                    <a:pt x="1022053" y="478796"/>
                    <a:pt x="990694" y="433704"/>
                  </a:cubicBezTo>
                  <a:cubicBezTo>
                    <a:pt x="973066" y="486892"/>
                    <a:pt x="997457" y="528602"/>
                    <a:pt x="1079545" y="530447"/>
                  </a:cubicBezTo>
                  <a:cubicBezTo>
                    <a:pt x="1122076" y="531369"/>
                    <a:pt x="1164298" y="511487"/>
                    <a:pt x="1194223" y="471622"/>
                  </a:cubicBezTo>
                  <a:cubicBezTo>
                    <a:pt x="1246693" y="611510"/>
                    <a:pt x="1355324" y="641230"/>
                    <a:pt x="1485579" y="563036"/>
                  </a:cubicBezTo>
                  <a:cubicBezTo>
                    <a:pt x="1362703" y="533009"/>
                    <a:pt x="1294348" y="466600"/>
                    <a:pt x="1257351" y="373137"/>
                  </a:cubicBezTo>
                  <a:cubicBezTo>
                    <a:pt x="1176493" y="168788"/>
                    <a:pt x="1140420" y="178626"/>
                    <a:pt x="1034453" y="157617"/>
                  </a:cubicBezTo>
                  <a:cubicBezTo>
                    <a:pt x="1153025" y="62514"/>
                    <a:pt x="1289941" y="97973"/>
                    <a:pt x="1318124" y="252516"/>
                  </a:cubicBezTo>
                  <a:cubicBezTo>
                    <a:pt x="1348048" y="212650"/>
                    <a:pt x="1390271" y="192769"/>
                    <a:pt x="1432800" y="193691"/>
                  </a:cubicBezTo>
                  <a:cubicBezTo>
                    <a:pt x="1514888" y="195536"/>
                    <a:pt x="1539279" y="237246"/>
                    <a:pt x="1521653" y="290434"/>
                  </a:cubicBezTo>
                  <a:cubicBezTo>
                    <a:pt x="1490293" y="245342"/>
                    <a:pt x="1398674" y="246572"/>
                    <a:pt x="1432493" y="326200"/>
                  </a:cubicBezTo>
                  <a:cubicBezTo>
                    <a:pt x="1452784" y="373957"/>
                    <a:pt x="1457601" y="371087"/>
                    <a:pt x="1462623" y="444157"/>
                  </a:cubicBezTo>
                  <a:cubicBezTo>
                    <a:pt x="1464980" y="479001"/>
                    <a:pt x="1481684" y="504724"/>
                    <a:pt x="1537229" y="508720"/>
                  </a:cubicBezTo>
                  <a:cubicBezTo>
                    <a:pt x="1588983" y="512410"/>
                    <a:pt x="1631001" y="493656"/>
                    <a:pt x="1630488" y="415154"/>
                  </a:cubicBezTo>
                  <a:cubicBezTo>
                    <a:pt x="1630181" y="373444"/>
                    <a:pt x="1631206" y="332554"/>
                    <a:pt x="1630591" y="291151"/>
                  </a:cubicBezTo>
                  <a:cubicBezTo>
                    <a:pt x="1629156" y="201377"/>
                    <a:pt x="1588881" y="210293"/>
                    <a:pt x="1488346" y="162024"/>
                  </a:cubicBezTo>
                  <a:cubicBezTo>
                    <a:pt x="1580989" y="145524"/>
                    <a:pt x="1641249" y="143680"/>
                    <a:pt x="1643299" y="21009"/>
                  </a:cubicBezTo>
                  <a:cubicBezTo>
                    <a:pt x="1569204" y="87520"/>
                    <a:pt x="1507817" y="92029"/>
                    <a:pt x="1426959" y="7686"/>
                  </a:cubicBezTo>
                  <a:cubicBezTo>
                    <a:pt x="1391706" y="51446"/>
                    <a:pt x="1394575" y="50626"/>
                    <a:pt x="1349585" y="76247"/>
                  </a:cubicBezTo>
                  <a:cubicBezTo>
                    <a:pt x="1280820" y="44887"/>
                    <a:pt x="1239212" y="25723"/>
                    <a:pt x="1161736" y="39251"/>
                  </a:cubicBezTo>
                  <a:cubicBezTo>
                    <a:pt x="1067965" y="55545"/>
                    <a:pt x="986082" y="107811"/>
                    <a:pt x="920493" y="179856"/>
                  </a:cubicBezTo>
                  <a:cubicBezTo>
                    <a:pt x="922133" y="91926"/>
                    <a:pt x="921621" y="68253"/>
                    <a:pt x="839942" y="13528"/>
                  </a:cubicBezTo>
                  <a:cubicBezTo>
                    <a:pt x="773637" y="56775"/>
                    <a:pt x="757752" y="91926"/>
                    <a:pt x="759392" y="179856"/>
                  </a:cubicBezTo>
                  <a:cubicBezTo>
                    <a:pt x="693906" y="107811"/>
                    <a:pt x="612023" y="55545"/>
                    <a:pt x="518251" y="39251"/>
                  </a:cubicBezTo>
                  <a:cubicBezTo>
                    <a:pt x="440878" y="25723"/>
                    <a:pt x="399167" y="44887"/>
                    <a:pt x="330402" y="76247"/>
                  </a:cubicBezTo>
                  <a:cubicBezTo>
                    <a:pt x="285515" y="50524"/>
                    <a:pt x="288282" y="51343"/>
                    <a:pt x="253028" y="7686"/>
                  </a:cubicBezTo>
                  <a:cubicBezTo>
                    <a:pt x="172170" y="92029"/>
                    <a:pt x="110783" y="87520"/>
                    <a:pt x="36689" y="14450"/>
                  </a:cubicBezTo>
                  <a:cubicBezTo>
                    <a:pt x="36894" y="142040"/>
                    <a:pt x="98998" y="141938"/>
                    <a:pt x="191641" y="158437"/>
                  </a:cubicBezTo>
                  <a:cubicBezTo>
                    <a:pt x="91107" y="206706"/>
                    <a:pt x="50831" y="197790"/>
                    <a:pt x="49396" y="287564"/>
                  </a:cubicBezTo>
                  <a:cubicBezTo>
                    <a:pt x="48782" y="328967"/>
                    <a:pt x="49704" y="369960"/>
                    <a:pt x="49499" y="411568"/>
                  </a:cubicBezTo>
                  <a:cubicBezTo>
                    <a:pt x="48987" y="490171"/>
                    <a:pt x="91004" y="508925"/>
                    <a:pt x="142758" y="505134"/>
                  </a:cubicBezTo>
                  <a:cubicBezTo>
                    <a:pt x="198303" y="501137"/>
                    <a:pt x="215008" y="475414"/>
                    <a:pt x="217364" y="440570"/>
                  </a:cubicBezTo>
                  <a:cubicBezTo>
                    <a:pt x="222386" y="367500"/>
                    <a:pt x="227203" y="370370"/>
                    <a:pt x="247494" y="322613"/>
                  </a:cubicBezTo>
                  <a:cubicBezTo>
                    <a:pt x="281313" y="242985"/>
                    <a:pt x="189694" y="241755"/>
                    <a:pt x="158335" y="286847"/>
                  </a:cubicBezTo>
                  <a:cubicBezTo>
                    <a:pt x="140708" y="233659"/>
                    <a:pt x="165201" y="191949"/>
                    <a:pt x="247187" y="190104"/>
                  </a:cubicBezTo>
                  <a:cubicBezTo>
                    <a:pt x="289717" y="189182"/>
                    <a:pt x="331939" y="209063"/>
                    <a:pt x="361864" y="248929"/>
                  </a:cubicBezTo>
                  <a:cubicBezTo>
                    <a:pt x="414335" y="109041"/>
                    <a:pt x="522966" y="79321"/>
                    <a:pt x="653221" y="157515"/>
                  </a:cubicBezTo>
                  <a:cubicBezTo>
                    <a:pt x="530344" y="187542"/>
                    <a:pt x="461989" y="253950"/>
                    <a:pt x="424993" y="347414"/>
                  </a:cubicBezTo>
                  <a:cubicBezTo>
                    <a:pt x="344237" y="551660"/>
                    <a:pt x="308061" y="541925"/>
                    <a:pt x="202197" y="562933"/>
                  </a:cubicBezTo>
                  <a:cubicBezTo>
                    <a:pt x="320769" y="658037"/>
                    <a:pt x="457685" y="622578"/>
                    <a:pt x="485867" y="468035"/>
                  </a:cubicBezTo>
                  <a:cubicBezTo>
                    <a:pt x="515792" y="507901"/>
                    <a:pt x="558014" y="527782"/>
                    <a:pt x="600545" y="526860"/>
                  </a:cubicBezTo>
                  <a:cubicBezTo>
                    <a:pt x="682633" y="525015"/>
                    <a:pt x="707024" y="483305"/>
                    <a:pt x="689396" y="430117"/>
                  </a:cubicBezTo>
                  <a:cubicBezTo>
                    <a:pt x="658139" y="475209"/>
                    <a:pt x="566418" y="473979"/>
                    <a:pt x="600237" y="394351"/>
                  </a:cubicBezTo>
                  <a:cubicBezTo>
                    <a:pt x="620529" y="346594"/>
                    <a:pt x="625345" y="349463"/>
                    <a:pt x="630367" y="276394"/>
                  </a:cubicBezTo>
                  <a:cubicBezTo>
                    <a:pt x="632724" y="241550"/>
                    <a:pt x="649429" y="215827"/>
                    <a:pt x="704974" y="211830"/>
                  </a:cubicBezTo>
                  <a:cubicBezTo>
                    <a:pt x="756727" y="208141"/>
                    <a:pt x="798744" y="226895"/>
                    <a:pt x="798232" y="305396"/>
                  </a:cubicBezTo>
                  <a:cubicBezTo>
                    <a:pt x="798028" y="347106"/>
                    <a:pt x="798950" y="387997"/>
                    <a:pt x="798335" y="429399"/>
                  </a:cubicBezTo>
                  <a:cubicBezTo>
                    <a:pt x="796900" y="519174"/>
                    <a:pt x="756625" y="510258"/>
                    <a:pt x="656090" y="558527"/>
                  </a:cubicBezTo>
                  <a:cubicBezTo>
                    <a:pt x="748733" y="575026"/>
                    <a:pt x="808993" y="576871"/>
                    <a:pt x="811042" y="699542"/>
                  </a:cubicBezTo>
                  <a:cubicBezTo>
                    <a:pt x="736948" y="633031"/>
                    <a:pt x="675562" y="628522"/>
                    <a:pt x="594703" y="712864"/>
                  </a:cubicBezTo>
                  <a:cubicBezTo>
                    <a:pt x="559449" y="669105"/>
                    <a:pt x="562319" y="669925"/>
                    <a:pt x="517329" y="644304"/>
                  </a:cubicBezTo>
                  <a:cubicBezTo>
                    <a:pt x="448564" y="675663"/>
                    <a:pt x="406956" y="694828"/>
                    <a:pt x="329480" y="681300"/>
                  </a:cubicBezTo>
                  <a:cubicBezTo>
                    <a:pt x="235709" y="665005"/>
                    <a:pt x="153826" y="612740"/>
                    <a:pt x="88237" y="540695"/>
                  </a:cubicBezTo>
                  <a:cubicBezTo>
                    <a:pt x="89877" y="628624"/>
                    <a:pt x="89365" y="652298"/>
                    <a:pt x="7686" y="706613"/>
                  </a:cubicBezTo>
                  <a:lnTo>
                    <a:pt x="7686" y="746888"/>
                  </a:lnTo>
                  <a:lnTo>
                    <a:pt x="1672199" y="746888"/>
                  </a:lnTo>
                  <a:lnTo>
                    <a:pt x="1672199" y="7050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696279E4-9244-4BA3-B493-2697E00BA137}"/>
                </a:ext>
              </a:extLst>
            </p:cNvPr>
            <p:cNvSpPr/>
            <p:nvPr userDrawn="1"/>
          </p:nvSpPr>
          <p:spPr>
            <a:xfrm>
              <a:off x="4572000" y="4320454"/>
              <a:ext cx="1143000" cy="511895"/>
            </a:xfrm>
            <a:custGeom>
              <a:avLst/>
              <a:gdLst>
                <a:gd name="connsiteX0" fmla="*/ 1672506 w 1670455"/>
                <a:gd name="connsiteY0" fmla="*/ 705076 h 748118"/>
                <a:gd name="connsiteX1" fmla="*/ 1591955 w 1670455"/>
                <a:gd name="connsiteY1" fmla="*/ 540695 h 748118"/>
                <a:gd name="connsiteX2" fmla="*/ 1350713 w 1670455"/>
                <a:gd name="connsiteY2" fmla="*/ 681300 h 748118"/>
                <a:gd name="connsiteX3" fmla="*/ 1162863 w 1670455"/>
                <a:gd name="connsiteY3" fmla="*/ 644304 h 748118"/>
                <a:gd name="connsiteX4" fmla="*/ 1085489 w 1670455"/>
                <a:gd name="connsiteY4" fmla="*/ 712864 h 748118"/>
                <a:gd name="connsiteX5" fmla="*/ 869149 w 1670455"/>
                <a:gd name="connsiteY5" fmla="*/ 706101 h 748118"/>
                <a:gd name="connsiteX6" fmla="*/ 1024103 w 1670455"/>
                <a:gd name="connsiteY6" fmla="*/ 562113 h 748118"/>
                <a:gd name="connsiteX7" fmla="*/ 881858 w 1670455"/>
                <a:gd name="connsiteY7" fmla="*/ 432986 h 748118"/>
                <a:gd name="connsiteX8" fmla="*/ 881858 w 1670455"/>
                <a:gd name="connsiteY8" fmla="*/ 308983 h 748118"/>
                <a:gd name="connsiteX9" fmla="*/ 975116 w 1670455"/>
                <a:gd name="connsiteY9" fmla="*/ 215417 h 748118"/>
                <a:gd name="connsiteX10" fmla="*/ 1049723 w 1670455"/>
                <a:gd name="connsiteY10" fmla="*/ 279981 h 748118"/>
                <a:gd name="connsiteX11" fmla="*/ 1079853 w 1670455"/>
                <a:gd name="connsiteY11" fmla="*/ 397937 h 748118"/>
                <a:gd name="connsiteX12" fmla="*/ 990694 w 1670455"/>
                <a:gd name="connsiteY12" fmla="*/ 433704 h 748118"/>
                <a:gd name="connsiteX13" fmla="*/ 1079545 w 1670455"/>
                <a:gd name="connsiteY13" fmla="*/ 530447 h 748118"/>
                <a:gd name="connsiteX14" fmla="*/ 1194223 w 1670455"/>
                <a:gd name="connsiteY14" fmla="*/ 471622 h 748118"/>
                <a:gd name="connsiteX15" fmla="*/ 1485579 w 1670455"/>
                <a:gd name="connsiteY15" fmla="*/ 563036 h 748118"/>
                <a:gd name="connsiteX16" fmla="*/ 1257351 w 1670455"/>
                <a:gd name="connsiteY16" fmla="*/ 373137 h 748118"/>
                <a:gd name="connsiteX17" fmla="*/ 1034453 w 1670455"/>
                <a:gd name="connsiteY17" fmla="*/ 157617 h 748118"/>
                <a:gd name="connsiteX18" fmla="*/ 1318124 w 1670455"/>
                <a:gd name="connsiteY18" fmla="*/ 252516 h 748118"/>
                <a:gd name="connsiteX19" fmla="*/ 1432800 w 1670455"/>
                <a:gd name="connsiteY19" fmla="*/ 193691 h 748118"/>
                <a:gd name="connsiteX20" fmla="*/ 1521653 w 1670455"/>
                <a:gd name="connsiteY20" fmla="*/ 290434 h 748118"/>
                <a:gd name="connsiteX21" fmla="*/ 1432493 w 1670455"/>
                <a:gd name="connsiteY21" fmla="*/ 326200 h 748118"/>
                <a:gd name="connsiteX22" fmla="*/ 1462623 w 1670455"/>
                <a:gd name="connsiteY22" fmla="*/ 444157 h 748118"/>
                <a:gd name="connsiteX23" fmla="*/ 1537229 w 1670455"/>
                <a:gd name="connsiteY23" fmla="*/ 508720 h 748118"/>
                <a:gd name="connsiteX24" fmla="*/ 1630488 w 1670455"/>
                <a:gd name="connsiteY24" fmla="*/ 415154 h 748118"/>
                <a:gd name="connsiteX25" fmla="*/ 1630591 w 1670455"/>
                <a:gd name="connsiteY25" fmla="*/ 291151 h 748118"/>
                <a:gd name="connsiteX26" fmla="*/ 1488346 w 1670455"/>
                <a:gd name="connsiteY26" fmla="*/ 162024 h 748118"/>
                <a:gd name="connsiteX27" fmla="*/ 1643299 w 1670455"/>
                <a:gd name="connsiteY27" fmla="*/ 21009 h 748118"/>
                <a:gd name="connsiteX28" fmla="*/ 1426959 w 1670455"/>
                <a:gd name="connsiteY28" fmla="*/ 7686 h 748118"/>
                <a:gd name="connsiteX29" fmla="*/ 1349585 w 1670455"/>
                <a:gd name="connsiteY29" fmla="*/ 76247 h 748118"/>
                <a:gd name="connsiteX30" fmla="*/ 1161736 w 1670455"/>
                <a:gd name="connsiteY30" fmla="*/ 39251 h 748118"/>
                <a:gd name="connsiteX31" fmla="*/ 920493 w 1670455"/>
                <a:gd name="connsiteY31" fmla="*/ 179856 h 748118"/>
                <a:gd name="connsiteX32" fmla="*/ 839942 w 1670455"/>
                <a:gd name="connsiteY32" fmla="*/ 13528 h 748118"/>
                <a:gd name="connsiteX33" fmla="*/ 759392 w 1670455"/>
                <a:gd name="connsiteY33" fmla="*/ 179856 h 748118"/>
                <a:gd name="connsiteX34" fmla="*/ 518251 w 1670455"/>
                <a:gd name="connsiteY34" fmla="*/ 39251 h 748118"/>
                <a:gd name="connsiteX35" fmla="*/ 330402 w 1670455"/>
                <a:gd name="connsiteY35" fmla="*/ 76247 h 748118"/>
                <a:gd name="connsiteX36" fmla="*/ 253028 w 1670455"/>
                <a:gd name="connsiteY36" fmla="*/ 7686 h 748118"/>
                <a:gd name="connsiteX37" fmla="*/ 36689 w 1670455"/>
                <a:gd name="connsiteY37" fmla="*/ 14450 h 748118"/>
                <a:gd name="connsiteX38" fmla="*/ 191641 w 1670455"/>
                <a:gd name="connsiteY38" fmla="*/ 158437 h 748118"/>
                <a:gd name="connsiteX39" fmla="*/ 49396 w 1670455"/>
                <a:gd name="connsiteY39" fmla="*/ 287564 h 748118"/>
                <a:gd name="connsiteX40" fmla="*/ 49499 w 1670455"/>
                <a:gd name="connsiteY40" fmla="*/ 411568 h 748118"/>
                <a:gd name="connsiteX41" fmla="*/ 142758 w 1670455"/>
                <a:gd name="connsiteY41" fmla="*/ 505134 h 748118"/>
                <a:gd name="connsiteX42" fmla="*/ 217364 w 1670455"/>
                <a:gd name="connsiteY42" fmla="*/ 440570 h 748118"/>
                <a:gd name="connsiteX43" fmla="*/ 247494 w 1670455"/>
                <a:gd name="connsiteY43" fmla="*/ 322613 h 748118"/>
                <a:gd name="connsiteX44" fmla="*/ 158335 w 1670455"/>
                <a:gd name="connsiteY44" fmla="*/ 286847 h 748118"/>
                <a:gd name="connsiteX45" fmla="*/ 247187 w 1670455"/>
                <a:gd name="connsiteY45" fmla="*/ 190104 h 748118"/>
                <a:gd name="connsiteX46" fmla="*/ 361864 w 1670455"/>
                <a:gd name="connsiteY46" fmla="*/ 248929 h 748118"/>
                <a:gd name="connsiteX47" fmla="*/ 653221 w 1670455"/>
                <a:gd name="connsiteY47" fmla="*/ 157515 h 748118"/>
                <a:gd name="connsiteX48" fmla="*/ 424993 w 1670455"/>
                <a:gd name="connsiteY48" fmla="*/ 347414 h 748118"/>
                <a:gd name="connsiteX49" fmla="*/ 202197 w 1670455"/>
                <a:gd name="connsiteY49" fmla="*/ 562933 h 748118"/>
                <a:gd name="connsiteX50" fmla="*/ 485867 w 1670455"/>
                <a:gd name="connsiteY50" fmla="*/ 468035 h 748118"/>
                <a:gd name="connsiteX51" fmla="*/ 600545 w 1670455"/>
                <a:gd name="connsiteY51" fmla="*/ 526860 h 748118"/>
                <a:gd name="connsiteX52" fmla="*/ 689396 w 1670455"/>
                <a:gd name="connsiteY52" fmla="*/ 430117 h 748118"/>
                <a:gd name="connsiteX53" fmla="*/ 600237 w 1670455"/>
                <a:gd name="connsiteY53" fmla="*/ 394351 h 748118"/>
                <a:gd name="connsiteX54" fmla="*/ 630367 w 1670455"/>
                <a:gd name="connsiteY54" fmla="*/ 276394 h 748118"/>
                <a:gd name="connsiteX55" fmla="*/ 704974 w 1670455"/>
                <a:gd name="connsiteY55" fmla="*/ 211830 h 748118"/>
                <a:gd name="connsiteX56" fmla="*/ 798232 w 1670455"/>
                <a:gd name="connsiteY56" fmla="*/ 305396 h 748118"/>
                <a:gd name="connsiteX57" fmla="*/ 798335 w 1670455"/>
                <a:gd name="connsiteY57" fmla="*/ 429399 h 748118"/>
                <a:gd name="connsiteX58" fmla="*/ 656090 w 1670455"/>
                <a:gd name="connsiteY58" fmla="*/ 558527 h 748118"/>
                <a:gd name="connsiteX59" fmla="*/ 811042 w 1670455"/>
                <a:gd name="connsiteY59" fmla="*/ 699542 h 748118"/>
                <a:gd name="connsiteX60" fmla="*/ 594703 w 1670455"/>
                <a:gd name="connsiteY60" fmla="*/ 712864 h 748118"/>
                <a:gd name="connsiteX61" fmla="*/ 517329 w 1670455"/>
                <a:gd name="connsiteY61" fmla="*/ 644304 h 748118"/>
                <a:gd name="connsiteX62" fmla="*/ 329480 w 1670455"/>
                <a:gd name="connsiteY62" fmla="*/ 681300 h 748118"/>
                <a:gd name="connsiteX63" fmla="*/ 88237 w 1670455"/>
                <a:gd name="connsiteY63" fmla="*/ 540695 h 748118"/>
                <a:gd name="connsiteX64" fmla="*/ 7686 w 1670455"/>
                <a:gd name="connsiteY64" fmla="*/ 706613 h 748118"/>
                <a:gd name="connsiteX65" fmla="*/ 7686 w 1670455"/>
                <a:gd name="connsiteY65" fmla="*/ 746888 h 748118"/>
                <a:gd name="connsiteX66" fmla="*/ 1672199 w 1670455"/>
                <a:gd name="connsiteY66" fmla="*/ 746888 h 748118"/>
                <a:gd name="connsiteX67" fmla="*/ 1672199 w 1670455"/>
                <a:gd name="connsiteY67" fmla="*/ 705076 h 74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70455" h="748118">
                  <a:moveTo>
                    <a:pt x="1672506" y="705076"/>
                  </a:moveTo>
                  <a:cubicBezTo>
                    <a:pt x="1606200" y="663776"/>
                    <a:pt x="1590316" y="628624"/>
                    <a:pt x="1591955" y="540695"/>
                  </a:cubicBezTo>
                  <a:cubicBezTo>
                    <a:pt x="1526469" y="612740"/>
                    <a:pt x="1444586" y="665005"/>
                    <a:pt x="1350713" y="681300"/>
                  </a:cubicBezTo>
                  <a:cubicBezTo>
                    <a:pt x="1273338" y="694828"/>
                    <a:pt x="1231731" y="675663"/>
                    <a:pt x="1162863" y="644304"/>
                  </a:cubicBezTo>
                  <a:cubicBezTo>
                    <a:pt x="1117976" y="670027"/>
                    <a:pt x="1120743" y="669207"/>
                    <a:pt x="1085489" y="712864"/>
                  </a:cubicBezTo>
                  <a:cubicBezTo>
                    <a:pt x="1004631" y="628522"/>
                    <a:pt x="943244" y="633031"/>
                    <a:pt x="869149" y="706101"/>
                  </a:cubicBezTo>
                  <a:cubicBezTo>
                    <a:pt x="869355" y="578511"/>
                    <a:pt x="931459" y="578511"/>
                    <a:pt x="1024103" y="562113"/>
                  </a:cubicBezTo>
                  <a:cubicBezTo>
                    <a:pt x="923568" y="513844"/>
                    <a:pt x="883190" y="522760"/>
                    <a:pt x="881858" y="432986"/>
                  </a:cubicBezTo>
                  <a:cubicBezTo>
                    <a:pt x="881243" y="391584"/>
                    <a:pt x="882165" y="350591"/>
                    <a:pt x="881858" y="308983"/>
                  </a:cubicBezTo>
                  <a:cubicBezTo>
                    <a:pt x="881345" y="230379"/>
                    <a:pt x="923363" y="211625"/>
                    <a:pt x="975116" y="215417"/>
                  </a:cubicBezTo>
                  <a:cubicBezTo>
                    <a:pt x="1030661" y="219414"/>
                    <a:pt x="1047366" y="245137"/>
                    <a:pt x="1049723" y="279981"/>
                  </a:cubicBezTo>
                  <a:cubicBezTo>
                    <a:pt x="1054745" y="353050"/>
                    <a:pt x="1059561" y="350181"/>
                    <a:pt x="1079853" y="397937"/>
                  </a:cubicBezTo>
                  <a:cubicBezTo>
                    <a:pt x="1113672" y="477566"/>
                    <a:pt x="1022053" y="478796"/>
                    <a:pt x="990694" y="433704"/>
                  </a:cubicBezTo>
                  <a:cubicBezTo>
                    <a:pt x="973066" y="486892"/>
                    <a:pt x="997457" y="528602"/>
                    <a:pt x="1079545" y="530447"/>
                  </a:cubicBezTo>
                  <a:cubicBezTo>
                    <a:pt x="1122076" y="531369"/>
                    <a:pt x="1164298" y="511487"/>
                    <a:pt x="1194223" y="471622"/>
                  </a:cubicBezTo>
                  <a:cubicBezTo>
                    <a:pt x="1246693" y="611510"/>
                    <a:pt x="1355324" y="641230"/>
                    <a:pt x="1485579" y="563036"/>
                  </a:cubicBezTo>
                  <a:cubicBezTo>
                    <a:pt x="1362703" y="533009"/>
                    <a:pt x="1294348" y="466600"/>
                    <a:pt x="1257351" y="373137"/>
                  </a:cubicBezTo>
                  <a:cubicBezTo>
                    <a:pt x="1176493" y="168788"/>
                    <a:pt x="1140420" y="178626"/>
                    <a:pt x="1034453" y="157617"/>
                  </a:cubicBezTo>
                  <a:cubicBezTo>
                    <a:pt x="1153025" y="62514"/>
                    <a:pt x="1289941" y="97973"/>
                    <a:pt x="1318124" y="252516"/>
                  </a:cubicBezTo>
                  <a:cubicBezTo>
                    <a:pt x="1348048" y="212650"/>
                    <a:pt x="1390271" y="192769"/>
                    <a:pt x="1432800" y="193691"/>
                  </a:cubicBezTo>
                  <a:cubicBezTo>
                    <a:pt x="1514888" y="195536"/>
                    <a:pt x="1539279" y="237246"/>
                    <a:pt x="1521653" y="290434"/>
                  </a:cubicBezTo>
                  <a:cubicBezTo>
                    <a:pt x="1490293" y="245342"/>
                    <a:pt x="1398674" y="246572"/>
                    <a:pt x="1432493" y="326200"/>
                  </a:cubicBezTo>
                  <a:cubicBezTo>
                    <a:pt x="1452784" y="373957"/>
                    <a:pt x="1457601" y="371087"/>
                    <a:pt x="1462623" y="444157"/>
                  </a:cubicBezTo>
                  <a:cubicBezTo>
                    <a:pt x="1464980" y="479001"/>
                    <a:pt x="1481684" y="504724"/>
                    <a:pt x="1537229" y="508720"/>
                  </a:cubicBezTo>
                  <a:cubicBezTo>
                    <a:pt x="1588983" y="512410"/>
                    <a:pt x="1631001" y="493656"/>
                    <a:pt x="1630488" y="415154"/>
                  </a:cubicBezTo>
                  <a:cubicBezTo>
                    <a:pt x="1630181" y="373444"/>
                    <a:pt x="1631206" y="332554"/>
                    <a:pt x="1630591" y="291151"/>
                  </a:cubicBezTo>
                  <a:cubicBezTo>
                    <a:pt x="1629156" y="201377"/>
                    <a:pt x="1588881" y="210293"/>
                    <a:pt x="1488346" y="162024"/>
                  </a:cubicBezTo>
                  <a:cubicBezTo>
                    <a:pt x="1580989" y="145524"/>
                    <a:pt x="1641249" y="143680"/>
                    <a:pt x="1643299" y="21009"/>
                  </a:cubicBezTo>
                  <a:cubicBezTo>
                    <a:pt x="1569204" y="87520"/>
                    <a:pt x="1507817" y="92029"/>
                    <a:pt x="1426959" y="7686"/>
                  </a:cubicBezTo>
                  <a:cubicBezTo>
                    <a:pt x="1391706" y="51446"/>
                    <a:pt x="1394575" y="50626"/>
                    <a:pt x="1349585" y="76247"/>
                  </a:cubicBezTo>
                  <a:cubicBezTo>
                    <a:pt x="1280820" y="44887"/>
                    <a:pt x="1239212" y="25723"/>
                    <a:pt x="1161736" y="39251"/>
                  </a:cubicBezTo>
                  <a:cubicBezTo>
                    <a:pt x="1067965" y="55545"/>
                    <a:pt x="986082" y="107811"/>
                    <a:pt x="920493" y="179856"/>
                  </a:cubicBezTo>
                  <a:cubicBezTo>
                    <a:pt x="922133" y="91926"/>
                    <a:pt x="921621" y="68253"/>
                    <a:pt x="839942" y="13528"/>
                  </a:cubicBezTo>
                  <a:cubicBezTo>
                    <a:pt x="773637" y="56775"/>
                    <a:pt x="757752" y="91926"/>
                    <a:pt x="759392" y="179856"/>
                  </a:cubicBezTo>
                  <a:cubicBezTo>
                    <a:pt x="693906" y="107811"/>
                    <a:pt x="612023" y="55545"/>
                    <a:pt x="518251" y="39251"/>
                  </a:cubicBezTo>
                  <a:cubicBezTo>
                    <a:pt x="440878" y="25723"/>
                    <a:pt x="399167" y="44887"/>
                    <a:pt x="330402" y="76247"/>
                  </a:cubicBezTo>
                  <a:cubicBezTo>
                    <a:pt x="285515" y="50524"/>
                    <a:pt x="288282" y="51343"/>
                    <a:pt x="253028" y="7686"/>
                  </a:cubicBezTo>
                  <a:cubicBezTo>
                    <a:pt x="172170" y="92029"/>
                    <a:pt x="110783" y="87520"/>
                    <a:pt x="36689" y="14450"/>
                  </a:cubicBezTo>
                  <a:cubicBezTo>
                    <a:pt x="36894" y="142040"/>
                    <a:pt x="98998" y="141938"/>
                    <a:pt x="191641" y="158437"/>
                  </a:cubicBezTo>
                  <a:cubicBezTo>
                    <a:pt x="91107" y="206706"/>
                    <a:pt x="50831" y="197790"/>
                    <a:pt x="49396" y="287564"/>
                  </a:cubicBezTo>
                  <a:cubicBezTo>
                    <a:pt x="48782" y="328967"/>
                    <a:pt x="49704" y="369960"/>
                    <a:pt x="49499" y="411568"/>
                  </a:cubicBezTo>
                  <a:cubicBezTo>
                    <a:pt x="48987" y="490171"/>
                    <a:pt x="91004" y="508925"/>
                    <a:pt x="142758" y="505134"/>
                  </a:cubicBezTo>
                  <a:cubicBezTo>
                    <a:pt x="198303" y="501137"/>
                    <a:pt x="215008" y="475414"/>
                    <a:pt x="217364" y="440570"/>
                  </a:cubicBezTo>
                  <a:cubicBezTo>
                    <a:pt x="222386" y="367500"/>
                    <a:pt x="227203" y="370370"/>
                    <a:pt x="247494" y="322613"/>
                  </a:cubicBezTo>
                  <a:cubicBezTo>
                    <a:pt x="281313" y="242985"/>
                    <a:pt x="189694" y="241755"/>
                    <a:pt x="158335" y="286847"/>
                  </a:cubicBezTo>
                  <a:cubicBezTo>
                    <a:pt x="140708" y="233659"/>
                    <a:pt x="165201" y="191949"/>
                    <a:pt x="247187" y="190104"/>
                  </a:cubicBezTo>
                  <a:cubicBezTo>
                    <a:pt x="289717" y="189182"/>
                    <a:pt x="331939" y="209063"/>
                    <a:pt x="361864" y="248929"/>
                  </a:cubicBezTo>
                  <a:cubicBezTo>
                    <a:pt x="414335" y="109041"/>
                    <a:pt x="522966" y="79321"/>
                    <a:pt x="653221" y="157515"/>
                  </a:cubicBezTo>
                  <a:cubicBezTo>
                    <a:pt x="530344" y="187542"/>
                    <a:pt x="461989" y="253950"/>
                    <a:pt x="424993" y="347414"/>
                  </a:cubicBezTo>
                  <a:cubicBezTo>
                    <a:pt x="344237" y="551660"/>
                    <a:pt x="308061" y="541925"/>
                    <a:pt x="202197" y="562933"/>
                  </a:cubicBezTo>
                  <a:cubicBezTo>
                    <a:pt x="320769" y="658037"/>
                    <a:pt x="457685" y="622578"/>
                    <a:pt x="485867" y="468035"/>
                  </a:cubicBezTo>
                  <a:cubicBezTo>
                    <a:pt x="515792" y="507901"/>
                    <a:pt x="558014" y="527782"/>
                    <a:pt x="600545" y="526860"/>
                  </a:cubicBezTo>
                  <a:cubicBezTo>
                    <a:pt x="682633" y="525015"/>
                    <a:pt x="707024" y="483305"/>
                    <a:pt x="689396" y="430117"/>
                  </a:cubicBezTo>
                  <a:cubicBezTo>
                    <a:pt x="658139" y="475209"/>
                    <a:pt x="566418" y="473979"/>
                    <a:pt x="600237" y="394351"/>
                  </a:cubicBezTo>
                  <a:cubicBezTo>
                    <a:pt x="620529" y="346594"/>
                    <a:pt x="625345" y="349463"/>
                    <a:pt x="630367" y="276394"/>
                  </a:cubicBezTo>
                  <a:cubicBezTo>
                    <a:pt x="632724" y="241550"/>
                    <a:pt x="649429" y="215827"/>
                    <a:pt x="704974" y="211830"/>
                  </a:cubicBezTo>
                  <a:cubicBezTo>
                    <a:pt x="756727" y="208141"/>
                    <a:pt x="798744" y="226895"/>
                    <a:pt x="798232" y="305396"/>
                  </a:cubicBezTo>
                  <a:cubicBezTo>
                    <a:pt x="798028" y="347106"/>
                    <a:pt x="798950" y="387997"/>
                    <a:pt x="798335" y="429399"/>
                  </a:cubicBezTo>
                  <a:cubicBezTo>
                    <a:pt x="796900" y="519174"/>
                    <a:pt x="756625" y="510258"/>
                    <a:pt x="656090" y="558527"/>
                  </a:cubicBezTo>
                  <a:cubicBezTo>
                    <a:pt x="748733" y="575026"/>
                    <a:pt x="808993" y="576871"/>
                    <a:pt x="811042" y="699542"/>
                  </a:cubicBezTo>
                  <a:cubicBezTo>
                    <a:pt x="736948" y="633031"/>
                    <a:pt x="675562" y="628522"/>
                    <a:pt x="594703" y="712864"/>
                  </a:cubicBezTo>
                  <a:cubicBezTo>
                    <a:pt x="559449" y="669105"/>
                    <a:pt x="562319" y="669925"/>
                    <a:pt x="517329" y="644304"/>
                  </a:cubicBezTo>
                  <a:cubicBezTo>
                    <a:pt x="448564" y="675663"/>
                    <a:pt x="406956" y="694828"/>
                    <a:pt x="329480" y="681300"/>
                  </a:cubicBezTo>
                  <a:cubicBezTo>
                    <a:pt x="235709" y="665005"/>
                    <a:pt x="153826" y="612740"/>
                    <a:pt x="88237" y="540695"/>
                  </a:cubicBezTo>
                  <a:cubicBezTo>
                    <a:pt x="89877" y="628624"/>
                    <a:pt x="89365" y="652298"/>
                    <a:pt x="7686" y="706613"/>
                  </a:cubicBezTo>
                  <a:lnTo>
                    <a:pt x="7686" y="746888"/>
                  </a:lnTo>
                  <a:lnTo>
                    <a:pt x="1672199" y="746888"/>
                  </a:lnTo>
                  <a:lnTo>
                    <a:pt x="1672199" y="7050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A488611E-A885-4742-B8FB-F51458D58D95}"/>
                </a:ext>
              </a:extLst>
            </p:cNvPr>
            <p:cNvSpPr/>
            <p:nvPr userDrawn="1"/>
          </p:nvSpPr>
          <p:spPr>
            <a:xfrm>
              <a:off x="5715000" y="4320454"/>
              <a:ext cx="1143000" cy="511895"/>
            </a:xfrm>
            <a:custGeom>
              <a:avLst/>
              <a:gdLst>
                <a:gd name="connsiteX0" fmla="*/ 1672506 w 1670455"/>
                <a:gd name="connsiteY0" fmla="*/ 705076 h 748118"/>
                <a:gd name="connsiteX1" fmla="*/ 1591955 w 1670455"/>
                <a:gd name="connsiteY1" fmla="*/ 540695 h 748118"/>
                <a:gd name="connsiteX2" fmla="*/ 1350713 w 1670455"/>
                <a:gd name="connsiteY2" fmla="*/ 681300 h 748118"/>
                <a:gd name="connsiteX3" fmla="*/ 1162863 w 1670455"/>
                <a:gd name="connsiteY3" fmla="*/ 644304 h 748118"/>
                <a:gd name="connsiteX4" fmla="*/ 1085489 w 1670455"/>
                <a:gd name="connsiteY4" fmla="*/ 712864 h 748118"/>
                <a:gd name="connsiteX5" fmla="*/ 869149 w 1670455"/>
                <a:gd name="connsiteY5" fmla="*/ 706101 h 748118"/>
                <a:gd name="connsiteX6" fmla="*/ 1024103 w 1670455"/>
                <a:gd name="connsiteY6" fmla="*/ 562113 h 748118"/>
                <a:gd name="connsiteX7" fmla="*/ 881858 w 1670455"/>
                <a:gd name="connsiteY7" fmla="*/ 432986 h 748118"/>
                <a:gd name="connsiteX8" fmla="*/ 881858 w 1670455"/>
                <a:gd name="connsiteY8" fmla="*/ 308983 h 748118"/>
                <a:gd name="connsiteX9" fmla="*/ 975116 w 1670455"/>
                <a:gd name="connsiteY9" fmla="*/ 215417 h 748118"/>
                <a:gd name="connsiteX10" fmla="*/ 1049723 w 1670455"/>
                <a:gd name="connsiteY10" fmla="*/ 279981 h 748118"/>
                <a:gd name="connsiteX11" fmla="*/ 1079853 w 1670455"/>
                <a:gd name="connsiteY11" fmla="*/ 397937 h 748118"/>
                <a:gd name="connsiteX12" fmla="*/ 990694 w 1670455"/>
                <a:gd name="connsiteY12" fmla="*/ 433704 h 748118"/>
                <a:gd name="connsiteX13" fmla="*/ 1079545 w 1670455"/>
                <a:gd name="connsiteY13" fmla="*/ 530447 h 748118"/>
                <a:gd name="connsiteX14" fmla="*/ 1194223 w 1670455"/>
                <a:gd name="connsiteY14" fmla="*/ 471622 h 748118"/>
                <a:gd name="connsiteX15" fmla="*/ 1485579 w 1670455"/>
                <a:gd name="connsiteY15" fmla="*/ 563036 h 748118"/>
                <a:gd name="connsiteX16" fmla="*/ 1257351 w 1670455"/>
                <a:gd name="connsiteY16" fmla="*/ 373137 h 748118"/>
                <a:gd name="connsiteX17" fmla="*/ 1034453 w 1670455"/>
                <a:gd name="connsiteY17" fmla="*/ 157617 h 748118"/>
                <a:gd name="connsiteX18" fmla="*/ 1318124 w 1670455"/>
                <a:gd name="connsiteY18" fmla="*/ 252516 h 748118"/>
                <a:gd name="connsiteX19" fmla="*/ 1432800 w 1670455"/>
                <a:gd name="connsiteY19" fmla="*/ 193691 h 748118"/>
                <a:gd name="connsiteX20" fmla="*/ 1521653 w 1670455"/>
                <a:gd name="connsiteY20" fmla="*/ 290434 h 748118"/>
                <a:gd name="connsiteX21" fmla="*/ 1432493 w 1670455"/>
                <a:gd name="connsiteY21" fmla="*/ 326200 h 748118"/>
                <a:gd name="connsiteX22" fmla="*/ 1462623 w 1670455"/>
                <a:gd name="connsiteY22" fmla="*/ 444157 h 748118"/>
                <a:gd name="connsiteX23" fmla="*/ 1537229 w 1670455"/>
                <a:gd name="connsiteY23" fmla="*/ 508720 h 748118"/>
                <a:gd name="connsiteX24" fmla="*/ 1630488 w 1670455"/>
                <a:gd name="connsiteY24" fmla="*/ 415154 h 748118"/>
                <a:gd name="connsiteX25" fmla="*/ 1630591 w 1670455"/>
                <a:gd name="connsiteY25" fmla="*/ 291151 h 748118"/>
                <a:gd name="connsiteX26" fmla="*/ 1488346 w 1670455"/>
                <a:gd name="connsiteY26" fmla="*/ 162024 h 748118"/>
                <a:gd name="connsiteX27" fmla="*/ 1643299 w 1670455"/>
                <a:gd name="connsiteY27" fmla="*/ 21009 h 748118"/>
                <a:gd name="connsiteX28" fmla="*/ 1426959 w 1670455"/>
                <a:gd name="connsiteY28" fmla="*/ 7686 h 748118"/>
                <a:gd name="connsiteX29" fmla="*/ 1349585 w 1670455"/>
                <a:gd name="connsiteY29" fmla="*/ 76247 h 748118"/>
                <a:gd name="connsiteX30" fmla="*/ 1161736 w 1670455"/>
                <a:gd name="connsiteY30" fmla="*/ 39251 h 748118"/>
                <a:gd name="connsiteX31" fmla="*/ 920493 w 1670455"/>
                <a:gd name="connsiteY31" fmla="*/ 179856 h 748118"/>
                <a:gd name="connsiteX32" fmla="*/ 839942 w 1670455"/>
                <a:gd name="connsiteY32" fmla="*/ 13528 h 748118"/>
                <a:gd name="connsiteX33" fmla="*/ 759392 w 1670455"/>
                <a:gd name="connsiteY33" fmla="*/ 179856 h 748118"/>
                <a:gd name="connsiteX34" fmla="*/ 518251 w 1670455"/>
                <a:gd name="connsiteY34" fmla="*/ 39251 h 748118"/>
                <a:gd name="connsiteX35" fmla="*/ 330402 w 1670455"/>
                <a:gd name="connsiteY35" fmla="*/ 76247 h 748118"/>
                <a:gd name="connsiteX36" fmla="*/ 253028 w 1670455"/>
                <a:gd name="connsiteY36" fmla="*/ 7686 h 748118"/>
                <a:gd name="connsiteX37" fmla="*/ 36689 w 1670455"/>
                <a:gd name="connsiteY37" fmla="*/ 14450 h 748118"/>
                <a:gd name="connsiteX38" fmla="*/ 191641 w 1670455"/>
                <a:gd name="connsiteY38" fmla="*/ 158437 h 748118"/>
                <a:gd name="connsiteX39" fmla="*/ 49396 w 1670455"/>
                <a:gd name="connsiteY39" fmla="*/ 287564 h 748118"/>
                <a:gd name="connsiteX40" fmla="*/ 49499 w 1670455"/>
                <a:gd name="connsiteY40" fmla="*/ 411568 h 748118"/>
                <a:gd name="connsiteX41" fmla="*/ 142758 w 1670455"/>
                <a:gd name="connsiteY41" fmla="*/ 505134 h 748118"/>
                <a:gd name="connsiteX42" fmla="*/ 217364 w 1670455"/>
                <a:gd name="connsiteY42" fmla="*/ 440570 h 748118"/>
                <a:gd name="connsiteX43" fmla="*/ 247494 w 1670455"/>
                <a:gd name="connsiteY43" fmla="*/ 322613 h 748118"/>
                <a:gd name="connsiteX44" fmla="*/ 158335 w 1670455"/>
                <a:gd name="connsiteY44" fmla="*/ 286847 h 748118"/>
                <a:gd name="connsiteX45" fmla="*/ 247187 w 1670455"/>
                <a:gd name="connsiteY45" fmla="*/ 190104 h 748118"/>
                <a:gd name="connsiteX46" fmla="*/ 361864 w 1670455"/>
                <a:gd name="connsiteY46" fmla="*/ 248929 h 748118"/>
                <a:gd name="connsiteX47" fmla="*/ 653221 w 1670455"/>
                <a:gd name="connsiteY47" fmla="*/ 157515 h 748118"/>
                <a:gd name="connsiteX48" fmla="*/ 424993 w 1670455"/>
                <a:gd name="connsiteY48" fmla="*/ 347414 h 748118"/>
                <a:gd name="connsiteX49" fmla="*/ 202197 w 1670455"/>
                <a:gd name="connsiteY49" fmla="*/ 562933 h 748118"/>
                <a:gd name="connsiteX50" fmla="*/ 485867 w 1670455"/>
                <a:gd name="connsiteY50" fmla="*/ 468035 h 748118"/>
                <a:gd name="connsiteX51" fmla="*/ 600545 w 1670455"/>
                <a:gd name="connsiteY51" fmla="*/ 526860 h 748118"/>
                <a:gd name="connsiteX52" fmla="*/ 689396 w 1670455"/>
                <a:gd name="connsiteY52" fmla="*/ 430117 h 748118"/>
                <a:gd name="connsiteX53" fmla="*/ 600237 w 1670455"/>
                <a:gd name="connsiteY53" fmla="*/ 394351 h 748118"/>
                <a:gd name="connsiteX54" fmla="*/ 630367 w 1670455"/>
                <a:gd name="connsiteY54" fmla="*/ 276394 h 748118"/>
                <a:gd name="connsiteX55" fmla="*/ 704974 w 1670455"/>
                <a:gd name="connsiteY55" fmla="*/ 211830 h 748118"/>
                <a:gd name="connsiteX56" fmla="*/ 798232 w 1670455"/>
                <a:gd name="connsiteY56" fmla="*/ 305396 h 748118"/>
                <a:gd name="connsiteX57" fmla="*/ 798335 w 1670455"/>
                <a:gd name="connsiteY57" fmla="*/ 429399 h 748118"/>
                <a:gd name="connsiteX58" fmla="*/ 656090 w 1670455"/>
                <a:gd name="connsiteY58" fmla="*/ 558527 h 748118"/>
                <a:gd name="connsiteX59" fmla="*/ 811042 w 1670455"/>
                <a:gd name="connsiteY59" fmla="*/ 699542 h 748118"/>
                <a:gd name="connsiteX60" fmla="*/ 594703 w 1670455"/>
                <a:gd name="connsiteY60" fmla="*/ 712864 h 748118"/>
                <a:gd name="connsiteX61" fmla="*/ 517329 w 1670455"/>
                <a:gd name="connsiteY61" fmla="*/ 644304 h 748118"/>
                <a:gd name="connsiteX62" fmla="*/ 329480 w 1670455"/>
                <a:gd name="connsiteY62" fmla="*/ 681300 h 748118"/>
                <a:gd name="connsiteX63" fmla="*/ 88237 w 1670455"/>
                <a:gd name="connsiteY63" fmla="*/ 540695 h 748118"/>
                <a:gd name="connsiteX64" fmla="*/ 7686 w 1670455"/>
                <a:gd name="connsiteY64" fmla="*/ 706613 h 748118"/>
                <a:gd name="connsiteX65" fmla="*/ 7686 w 1670455"/>
                <a:gd name="connsiteY65" fmla="*/ 746888 h 748118"/>
                <a:gd name="connsiteX66" fmla="*/ 1672199 w 1670455"/>
                <a:gd name="connsiteY66" fmla="*/ 746888 h 748118"/>
                <a:gd name="connsiteX67" fmla="*/ 1672199 w 1670455"/>
                <a:gd name="connsiteY67" fmla="*/ 705076 h 74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70455" h="748118">
                  <a:moveTo>
                    <a:pt x="1672506" y="705076"/>
                  </a:moveTo>
                  <a:cubicBezTo>
                    <a:pt x="1606200" y="663776"/>
                    <a:pt x="1590316" y="628624"/>
                    <a:pt x="1591955" y="540695"/>
                  </a:cubicBezTo>
                  <a:cubicBezTo>
                    <a:pt x="1526469" y="612740"/>
                    <a:pt x="1444586" y="665005"/>
                    <a:pt x="1350713" y="681300"/>
                  </a:cubicBezTo>
                  <a:cubicBezTo>
                    <a:pt x="1273338" y="694828"/>
                    <a:pt x="1231731" y="675663"/>
                    <a:pt x="1162863" y="644304"/>
                  </a:cubicBezTo>
                  <a:cubicBezTo>
                    <a:pt x="1117976" y="670027"/>
                    <a:pt x="1120743" y="669207"/>
                    <a:pt x="1085489" y="712864"/>
                  </a:cubicBezTo>
                  <a:cubicBezTo>
                    <a:pt x="1004631" y="628522"/>
                    <a:pt x="943244" y="633031"/>
                    <a:pt x="869149" y="706101"/>
                  </a:cubicBezTo>
                  <a:cubicBezTo>
                    <a:pt x="869355" y="578511"/>
                    <a:pt x="931459" y="578511"/>
                    <a:pt x="1024103" y="562113"/>
                  </a:cubicBezTo>
                  <a:cubicBezTo>
                    <a:pt x="923568" y="513844"/>
                    <a:pt x="883190" y="522760"/>
                    <a:pt x="881858" y="432986"/>
                  </a:cubicBezTo>
                  <a:cubicBezTo>
                    <a:pt x="881243" y="391584"/>
                    <a:pt x="882165" y="350591"/>
                    <a:pt x="881858" y="308983"/>
                  </a:cubicBezTo>
                  <a:cubicBezTo>
                    <a:pt x="881345" y="230379"/>
                    <a:pt x="923363" y="211625"/>
                    <a:pt x="975116" y="215417"/>
                  </a:cubicBezTo>
                  <a:cubicBezTo>
                    <a:pt x="1030661" y="219414"/>
                    <a:pt x="1047366" y="245137"/>
                    <a:pt x="1049723" y="279981"/>
                  </a:cubicBezTo>
                  <a:cubicBezTo>
                    <a:pt x="1054745" y="353050"/>
                    <a:pt x="1059561" y="350181"/>
                    <a:pt x="1079853" y="397937"/>
                  </a:cubicBezTo>
                  <a:cubicBezTo>
                    <a:pt x="1113672" y="477566"/>
                    <a:pt x="1022053" y="478796"/>
                    <a:pt x="990694" y="433704"/>
                  </a:cubicBezTo>
                  <a:cubicBezTo>
                    <a:pt x="973066" y="486892"/>
                    <a:pt x="997457" y="528602"/>
                    <a:pt x="1079545" y="530447"/>
                  </a:cubicBezTo>
                  <a:cubicBezTo>
                    <a:pt x="1122076" y="531369"/>
                    <a:pt x="1164298" y="511487"/>
                    <a:pt x="1194223" y="471622"/>
                  </a:cubicBezTo>
                  <a:cubicBezTo>
                    <a:pt x="1246693" y="611510"/>
                    <a:pt x="1355324" y="641230"/>
                    <a:pt x="1485579" y="563036"/>
                  </a:cubicBezTo>
                  <a:cubicBezTo>
                    <a:pt x="1362703" y="533009"/>
                    <a:pt x="1294348" y="466600"/>
                    <a:pt x="1257351" y="373137"/>
                  </a:cubicBezTo>
                  <a:cubicBezTo>
                    <a:pt x="1176493" y="168788"/>
                    <a:pt x="1140420" y="178626"/>
                    <a:pt x="1034453" y="157617"/>
                  </a:cubicBezTo>
                  <a:cubicBezTo>
                    <a:pt x="1153025" y="62514"/>
                    <a:pt x="1289941" y="97973"/>
                    <a:pt x="1318124" y="252516"/>
                  </a:cubicBezTo>
                  <a:cubicBezTo>
                    <a:pt x="1348048" y="212650"/>
                    <a:pt x="1390271" y="192769"/>
                    <a:pt x="1432800" y="193691"/>
                  </a:cubicBezTo>
                  <a:cubicBezTo>
                    <a:pt x="1514888" y="195536"/>
                    <a:pt x="1539279" y="237246"/>
                    <a:pt x="1521653" y="290434"/>
                  </a:cubicBezTo>
                  <a:cubicBezTo>
                    <a:pt x="1490293" y="245342"/>
                    <a:pt x="1398674" y="246572"/>
                    <a:pt x="1432493" y="326200"/>
                  </a:cubicBezTo>
                  <a:cubicBezTo>
                    <a:pt x="1452784" y="373957"/>
                    <a:pt x="1457601" y="371087"/>
                    <a:pt x="1462623" y="444157"/>
                  </a:cubicBezTo>
                  <a:cubicBezTo>
                    <a:pt x="1464980" y="479001"/>
                    <a:pt x="1481684" y="504724"/>
                    <a:pt x="1537229" y="508720"/>
                  </a:cubicBezTo>
                  <a:cubicBezTo>
                    <a:pt x="1588983" y="512410"/>
                    <a:pt x="1631001" y="493656"/>
                    <a:pt x="1630488" y="415154"/>
                  </a:cubicBezTo>
                  <a:cubicBezTo>
                    <a:pt x="1630181" y="373444"/>
                    <a:pt x="1631206" y="332554"/>
                    <a:pt x="1630591" y="291151"/>
                  </a:cubicBezTo>
                  <a:cubicBezTo>
                    <a:pt x="1629156" y="201377"/>
                    <a:pt x="1588881" y="210293"/>
                    <a:pt x="1488346" y="162024"/>
                  </a:cubicBezTo>
                  <a:cubicBezTo>
                    <a:pt x="1580989" y="145524"/>
                    <a:pt x="1641249" y="143680"/>
                    <a:pt x="1643299" y="21009"/>
                  </a:cubicBezTo>
                  <a:cubicBezTo>
                    <a:pt x="1569204" y="87520"/>
                    <a:pt x="1507817" y="92029"/>
                    <a:pt x="1426959" y="7686"/>
                  </a:cubicBezTo>
                  <a:cubicBezTo>
                    <a:pt x="1391706" y="51446"/>
                    <a:pt x="1394575" y="50626"/>
                    <a:pt x="1349585" y="76247"/>
                  </a:cubicBezTo>
                  <a:cubicBezTo>
                    <a:pt x="1280820" y="44887"/>
                    <a:pt x="1239212" y="25723"/>
                    <a:pt x="1161736" y="39251"/>
                  </a:cubicBezTo>
                  <a:cubicBezTo>
                    <a:pt x="1067965" y="55545"/>
                    <a:pt x="986082" y="107811"/>
                    <a:pt x="920493" y="179856"/>
                  </a:cubicBezTo>
                  <a:cubicBezTo>
                    <a:pt x="922133" y="91926"/>
                    <a:pt x="921621" y="68253"/>
                    <a:pt x="839942" y="13528"/>
                  </a:cubicBezTo>
                  <a:cubicBezTo>
                    <a:pt x="773637" y="56775"/>
                    <a:pt x="757752" y="91926"/>
                    <a:pt x="759392" y="179856"/>
                  </a:cubicBezTo>
                  <a:cubicBezTo>
                    <a:pt x="693906" y="107811"/>
                    <a:pt x="612023" y="55545"/>
                    <a:pt x="518251" y="39251"/>
                  </a:cubicBezTo>
                  <a:cubicBezTo>
                    <a:pt x="440878" y="25723"/>
                    <a:pt x="399167" y="44887"/>
                    <a:pt x="330402" y="76247"/>
                  </a:cubicBezTo>
                  <a:cubicBezTo>
                    <a:pt x="285515" y="50524"/>
                    <a:pt x="288282" y="51343"/>
                    <a:pt x="253028" y="7686"/>
                  </a:cubicBezTo>
                  <a:cubicBezTo>
                    <a:pt x="172170" y="92029"/>
                    <a:pt x="110783" y="87520"/>
                    <a:pt x="36689" y="14450"/>
                  </a:cubicBezTo>
                  <a:cubicBezTo>
                    <a:pt x="36894" y="142040"/>
                    <a:pt x="98998" y="141938"/>
                    <a:pt x="191641" y="158437"/>
                  </a:cubicBezTo>
                  <a:cubicBezTo>
                    <a:pt x="91107" y="206706"/>
                    <a:pt x="50831" y="197790"/>
                    <a:pt x="49396" y="287564"/>
                  </a:cubicBezTo>
                  <a:cubicBezTo>
                    <a:pt x="48782" y="328967"/>
                    <a:pt x="49704" y="369960"/>
                    <a:pt x="49499" y="411568"/>
                  </a:cubicBezTo>
                  <a:cubicBezTo>
                    <a:pt x="48987" y="490171"/>
                    <a:pt x="91004" y="508925"/>
                    <a:pt x="142758" y="505134"/>
                  </a:cubicBezTo>
                  <a:cubicBezTo>
                    <a:pt x="198303" y="501137"/>
                    <a:pt x="215008" y="475414"/>
                    <a:pt x="217364" y="440570"/>
                  </a:cubicBezTo>
                  <a:cubicBezTo>
                    <a:pt x="222386" y="367500"/>
                    <a:pt x="227203" y="370370"/>
                    <a:pt x="247494" y="322613"/>
                  </a:cubicBezTo>
                  <a:cubicBezTo>
                    <a:pt x="281313" y="242985"/>
                    <a:pt x="189694" y="241755"/>
                    <a:pt x="158335" y="286847"/>
                  </a:cubicBezTo>
                  <a:cubicBezTo>
                    <a:pt x="140708" y="233659"/>
                    <a:pt x="165201" y="191949"/>
                    <a:pt x="247187" y="190104"/>
                  </a:cubicBezTo>
                  <a:cubicBezTo>
                    <a:pt x="289717" y="189182"/>
                    <a:pt x="331939" y="209063"/>
                    <a:pt x="361864" y="248929"/>
                  </a:cubicBezTo>
                  <a:cubicBezTo>
                    <a:pt x="414335" y="109041"/>
                    <a:pt x="522966" y="79321"/>
                    <a:pt x="653221" y="157515"/>
                  </a:cubicBezTo>
                  <a:cubicBezTo>
                    <a:pt x="530344" y="187542"/>
                    <a:pt x="461989" y="253950"/>
                    <a:pt x="424993" y="347414"/>
                  </a:cubicBezTo>
                  <a:cubicBezTo>
                    <a:pt x="344237" y="551660"/>
                    <a:pt x="308061" y="541925"/>
                    <a:pt x="202197" y="562933"/>
                  </a:cubicBezTo>
                  <a:cubicBezTo>
                    <a:pt x="320769" y="658037"/>
                    <a:pt x="457685" y="622578"/>
                    <a:pt x="485867" y="468035"/>
                  </a:cubicBezTo>
                  <a:cubicBezTo>
                    <a:pt x="515792" y="507901"/>
                    <a:pt x="558014" y="527782"/>
                    <a:pt x="600545" y="526860"/>
                  </a:cubicBezTo>
                  <a:cubicBezTo>
                    <a:pt x="682633" y="525015"/>
                    <a:pt x="707024" y="483305"/>
                    <a:pt x="689396" y="430117"/>
                  </a:cubicBezTo>
                  <a:cubicBezTo>
                    <a:pt x="658139" y="475209"/>
                    <a:pt x="566418" y="473979"/>
                    <a:pt x="600237" y="394351"/>
                  </a:cubicBezTo>
                  <a:cubicBezTo>
                    <a:pt x="620529" y="346594"/>
                    <a:pt x="625345" y="349463"/>
                    <a:pt x="630367" y="276394"/>
                  </a:cubicBezTo>
                  <a:cubicBezTo>
                    <a:pt x="632724" y="241550"/>
                    <a:pt x="649429" y="215827"/>
                    <a:pt x="704974" y="211830"/>
                  </a:cubicBezTo>
                  <a:cubicBezTo>
                    <a:pt x="756727" y="208141"/>
                    <a:pt x="798744" y="226895"/>
                    <a:pt x="798232" y="305396"/>
                  </a:cubicBezTo>
                  <a:cubicBezTo>
                    <a:pt x="798028" y="347106"/>
                    <a:pt x="798950" y="387997"/>
                    <a:pt x="798335" y="429399"/>
                  </a:cubicBezTo>
                  <a:cubicBezTo>
                    <a:pt x="796900" y="519174"/>
                    <a:pt x="756625" y="510258"/>
                    <a:pt x="656090" y="558527"/>
                  </a:cubicBezTo>
                  <a:cubicBezTo>
                    <a:pt x="748733" y="575026"/>
                    <a:pt x="808993" y="576871"/>
                    <a:pt x="811042" y="699542"/>
                  </a:cubicBezTo>
                  <a:cubicBezTo>
                    <a:pt x="736948" y="633031"/>
                    <a:pt x="675562" y="628522"/>
                    <a:pt x="594703" y="712864"/>
                  </a:cubicBezTo>
                  <a:cubicBezTo>
                    <a:pt x="559449" y="669105"/>
                    <a:pt x="562319" y="669925"/>
                    <a:pt x="517329" y="644304"/>
                  </a:cubicBezTo>
                  <a:cubicBezTo>
                    <a:pt x="448564" y="675663"/>
                    <a:pt x="406956" y="694828"/>
                    <a:pt x="329480" y="681300"/>
                  </a:cubicBezTo>
                  <a:cubicBezTo>
                    <a:pt x="235709" y="665005"/>
                    <a:pt x="153826" y="612740"/>
                    <a:pt x="88237" y="540695"/>
                  </a:cubicBezTo>
                  <a:cubicBezTo>
                    <a:pt x="89877" y="628624"/>
                    <a:pt x="89365" y="652298"/>
                    <a:pt x="7686" y="706613"/>
                  </a:cubicBezTo>
                  <a:lnTo>
                    <a:pt x="7686" y="746888"/>
                  </a:lnTo>
                  <a:lnTo>
                    <a:pt x="1672199" y="746888"/>
                  </a:lnTo>
                  <a:lnTo>
                    <a:pt x="1672199" y="7050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A938D9D-19DD-4B15-9C50-51FCB6C6E381}"/>
                </a:ext>
              </a:extLst>
            </p:cNvPr>
            <p:cNvSpPr/>
            <p:nvPr userDrawn="1"/>
          </p:nvSpPr>
          <p:spPr>
            <a:xfrm>
              <a:off x="6858000" y="4320454"/>
              <a:ext cx="1143000" cy="511895"/>
            </a:xfrm>
            <a:custGeom>
              <a:avLst/>
              <a:gdLst>
                <a:gd name="connsiteX0" fmla="*/ 1672506 w 1670455"/>
                <a:gd name="connsiteY0" fmla="*/ 705076 h 748118"/>
                <a:gd name="connsiteX1" fmla="*/ 1591955 w 1670455"/>
                <a:gd name="connsiteY1" fmla="*/ 540695 h 748118"/>
                <a:gd name="connsiteX2" fmla="*/ 1350713 w 1670455"/>
                <a:gd name="connsiteY2" fmla="*/ 681300 h 748118"/>
                <a:gd name="connsiteX3" fmla="*/ 1162863 w 1670455"/>
                <a:gd name="connsiteY3" fmla="*/ 644304 h 748118"/>
                <a:gd name="connsiteX4" fmla="*/ 1085489 w 1670455"/>
                <a:gd name="connsiteY4" fmla="*/ 712864 h 748118"/>
                <a:gd name="connsiteX5" fmla="*/ 869149 w 1670455"/>
                <a:gd name="connsiteY5" fmla="*/ 706101 h 748118"/>
                <a:gd name="connsiteX6" fmla="*/ 1024103 w 1670455"/>
                <a:gd name="connsiteY6" fmla="*/ 562113 h 748118"/>
                <a:gd name="connsiteX7" fmla="*/ 881858 w 1670455"/>
                <a:gd name="connsiteY7" fmla="*/ 432986 h 748118"/>
                <a:gd name="connsiteX8" fmla="*/ 881858 w 1670455"/>
                <a:gd name="connsiteY8" fmla="*/ 308983 h 748118"/>
                <a:gd name="connsiteX9" fmla="*/ 975116 w 1670455"/>
                <a:gd name="connsiteY9" fmla="*/ 215417 h 748118"/>
                <a:gd name="connsiteX10" fmla="*/ 1049723 w 1670455"/>
                <a:gd name="connsiteY10" fmla="*/ 279981 h 748118"/>
                <a:gd name="connsiteX11" fmla="*/ 1079853 w 1670455"/>
                <a:gd name="connsiteY11" fmla="*/ 397937 h 748118"/>
                <a:gd name="connsiteX12" fmla="*/ 990694 w 1670455"/>
                <a:gd name="connsiteY12" fmla="*/ 433704 h 748118"/>
                <a:gd name="connsiteX13" fmla="*/ 1079545 w 1670455"/>
                <a:gd name="connsiteY13" fmla="*/ 530447 h 748118"/>
                <a:gd name="connsiteX14" fmla="*/ 1194223 w 1670455"/>
                <a:gd name="connsiteY14" fmla="*/ 471622 h 748118"/>
                <a:gd name="connsiteX15" fmla="*/ 1485579 w 1670455"/>
                <a:gd name="connsiteY15" fmla="*/ 563036 h 748118"/>
                <a:gd name="connsiteX16" fmla="*/ 1257351 w 1670455"/>
                <a:gd name="connsiteY16" fmla="*/ 373137 h 748118"/>
                <a:gd name="connsiteX17" fmla="*/ 1034453 w 1670455"/>
                <a:gd name="connsiteY17" fmla="*/ 157617 h 748118"/>
                <a:gd name="connsiteX18" fmla="*/ 1318124 w 1670455"/>
                <a:gd name="connsiteY18" fmla="*/ 252516 h 748118"/>
                <a:gd name="connsiteX19" fmla="*/ 1432800 w 1670455"/>
                <a:gd name="connsiteY19" fmla="*/ 193691 h 748118"/>
                <a:gd name="connsiteX20" fmla="*/ 1521653 w 1670455"/>
                <a:gd name="connsiteY20" fmla="*/ 290434 h 748118"/>
                <a:gd name="connsiteX21" fmla="*/ 1432493 w 1670455"/>
                <a:gd name="connsiteY21" fmla="*/ 326200 h 748118"/>
                <a:gd name="connsiteX22" fmla="*/ 1462623 w 1670455"/>
                <a:gd name="connsiteY22" fmla="*/ 444157 h 748118"/>
                <a:gd name="connsiteX23" fmla="*/ 1537229 w 1670455"/>
                <a:gd name="connsiteY23" fmla="*/ 508720 h 748118"/>
                <a:gd name="connsiteX24" fmla="*/ 1630488 w 1670455"/>
                <a:gd name="connsiteY24" fmla="*/ 415154 h 748118"/>
                <a:gd name="connsiteX25" fmla="*/ 1630591 w 1670455"/>
                <a:gd name="connsiteY25" fmla="*/ 291151 h 748118"/>
                <a:gd name="connsiteX26" fmla="*/ 1488346 w 1670455"/>
                <a:gd name="connsiteY26" fmla="*/ 162024 h 748118"/>
                <a:gd name="connsiteX27" fmla="*/ 1643299 w 1670455"/>
                <a:gd name="connsiteY27" fmla="*/ 21009 h 748118"/>
                <a:gd name="connsiteX28" fmla="*/ 1426959 w 1670455"/>
                <a:gd name="connsiteY28" fmla="*/ 7686 h 748118"/>
                <a:gd name="connsiteX29" fmla="*/ 1349585 w 1670455"/>
                <a:gd name="connsiteY29" fmla="*/ 76247 h 748118"/>
                <a:gd name="connsiteX30" fmla="*/ 1161736 w 1670455"/>
                <a:gd name="connsiteY30" fmla="*/ 39251 h 748118"/>
                <a:gd name="connsiteX31" fmla="*/ 920493 w 1670455"/>
                <a:gd name="connsiteY31" fmla="*/ 179856 h 748118"/>
                <a:gd name="connsiteX32" fmla="*/ 839942 w 1670455"/>
                <a:gd name="connsiteY32" fmla="*/ 13528 h 748118"/>
                <a:gd name="connsiteX33" fmla="*/ 759392 w 1670455"/>
                <a:gd name="connsiteY33" fmla="*/ 179856 h 748118"/>
                <a:gd name="connsiteX34" fmla="*/ 518251 w 1670455"/>
                <a:gd name="connsiteY34" fmla="*/ 39251 h 748118"/>
                <a:gd name="connsiteX35" fmla="*/ 330402 w 1670455"/>
                <a:gd name="connsiteY35" fmla="*/ 76247 h 748118"/>
                <a:gd name="connsiteX36" fmla="*/ 253028 w 1670455"/>
                <a:gd name="connsiteY36" fmla="*/ 7686 h 748118"/>
                <a:gd name="connsiteX37" fmla="*/ 36689 w 1670455"/>
                <a:gd name="connsiteY37" fmla="*/ 14450 h 748118"/>
                <a:gd name="connsiteX38" fmla="*/ 191641 w 1670455"/>
                <a:gd name="connsiteY38" fmla="*/ 158437 h 748118"/>
                <a:gd name="connsiteX39" fmla="*/ 49396 w 1670455"/>
                <a:gd name="connsiteY39" fmla="*/ 287564 h 748118"/>
                <a:gd name="connsiteX40" fmla="*/ 49499 w 1670455"/>
                <a:gd name="connsiteY40" fmla="*/ 411568 h 748118"/>
                <a:gd name="connsiteX41" fmla="*/ 142758 w 1670455"/>
                <a:gd name="connsiteY41" fmla="*/ 505134 h 748118"/>
                <a:gd name="connsiteX42" fmla="*/ 217364 w 1670455"/>
                <a:gd name="connsiteY42" fmla="*/ 440570 h 748118"/>
                <a:gd name="connsiteX43" fmla="*/ 247494 w 1670455"/>
                <a:gd name="connsiteY43" fmla="*/ 322613 h 748118"/>
                <a:gd name="connsiteX44" fmla="*/ 158335 w 1670455"/>
                <a:gd name="connsiteY44" fmla="*/ 286847 h 748118"/>
                <a:gd name="connsiteX45" fmla="*/ 247187 w 1670455"/>
                <a:gd name="connsiteY45" fmla="*/ 190104 h 748118"/>
                <a:gd name="connsiteX46" fmla="*/ 361864 w 1670455"/>
                <a:gd name="connsiteY46" fmla="*/ 248929 h 748118"/>
                <a:gd name="connsiteX47" fmla="*/ 653221 w 1670455"/>
                <a:gd name="connsiteY47" fmla="*/ 157515 h 748118"/>
                <a:gd name="connsiteX48" fmla="*/ 424993 w 1670455"/>
                <a:gd name="connsiteY48" fmla="*/ 347414 h 748118"/>
                <a:gd name="connsiteX49" fmla="*/ 202197 w 1670455"/>
                <a:gd name="connsiteY49" fmla="*/ 562933 h 748118"/>
                <a:gd name="connsiteX50" fmla="*/ 485867 w 1670455"/>
                <a:gd name="connsiteY50" fmla="*/ 468035 h 748118"/>
                <a:gd name="connsiteX51" fmla="*/ 600545 w 1670455"/>
                <a:gd name="connsiteY51" fmla="*/ 526860 h 748118"/>
                <a:gd name="connsiteX52" fmla="*/ 689396 w 1670455"/>
                <a:gd name="connsiteY52" fmla="*/ 430117 h 748118"/>
                <a:gd name="connsiteX53" fmla="*/ 600237 w 1670455"/>
                <a:gd name="connsiteY53" fmla="*/ 394351 h 748118"/>
                <a:gd name="connsiteX54" fmla="*/ 630367 w 1670455"/>
                <a:gd name="connsiteY54" fmla="*/ 276394 h 748118"/>
                <a:gd name="connsiteX55" fmla="*/ 704974 w 1670455"/>
                <a:gd name="connsiteY55" fmla="*/ 211830 h 748118"/>
                <a:gd name="connsiteX56" fmla="*/ 798232 w 1670455"/>
                <a:gd name="connsiteY56" fmla="*/ 305396 h 748118"/>
                <a:gd name="connsiteX57" fmla="*/ 798335 w 1670455"/>
                <a:gd name="connsiteY57" fmla="*/ 429399 h 748118"/>
                <a:gd name="connsiteX58" fmla="*/ 656090 w 1670455"/>
                <a:gd name="connsiteY58" fmla="*/ 558527 h 748118"/>
                <a:gd name="connsiteX59" fmla="*/ 811042 w 1670455"/>
                <a:gd name="connsiteY59" fmla="*/ 699542 h 748118"/>
                <a:gd name="connsiteX60" fmla="*/ 594703 w 1670455"/>
                <a:gd name="connsiteY60" fmla="*/ 712864 h 748118"/>
                <a:gd name="connsiteX61" fmla="*/ 517329 w 1670455"/>
                <a:gd name="connsiteY61" fmla="*/ 644304 h 748118"/>
                <a:gd name="connsiteX62" fmla="*/ 329480 w 1670455"/>
                <a:gd name="connsiteY62" fmla="*/ 681300 h 748118"/>
                <a:gd name="connsiteX63" fmla="*/ 88237 w 1670455"/>
                <a:gd name="connsiteY63" fmla="*/ 540695 h 748118"/>
                <a:gd name="connsiteX64" fmla="*/ 7686 w 1670455"/>
                <a:gd name="connsiteY64" fmla="*/ 706613 h 748118"/>
                <a:gd name="connsiteX65" fmla="*/ 7686 w 1670455"/>
                <a:gd name="connsiteY65" fmla="*/ 746888 h 748118"/>
                <a:gd name="connsiteX66" fmla="*/ 1672199 w 1670455"/>
                <a:gd name="connsiteY66" fmla="*/ 746888 h 748118"/>
                <a:gd name="connsiteX67" fmla="*/ 1672199 w 1670455"/>
                <a:gd name="connsiteY67" fmla="*/ 705076 h 74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70455" h="748118">
                  <a:moveTo>
                    <a:pt x="1672506" y="705076"/>
                  </a:moveTo>
                  <a:cubicBezTo>
                    <a:pt x="1606200" y="663776"/>
                    <a:pt x="1590316" y="628624"/>
                    <a:pt x="1591955" y="540695"/>
                  </a:cubicBezTo>
                  <a:cubicBezTo>
                    <a:pt x="1526469" y="612740"/>
                    <a:pt x="1444586" y="665005"/>
                    <a:pt x="1350713" y="681300"/>
                  </a:cubicBezTo>
                  <a:cubicBezTo>
                    <a:pt x="1273338" y="694828"/>
                    <a:pt x="1231731" y="675663"/>
                    <a:pt x="1162863" y="644304"/>
                  </a:cubicBezTo>
                  <a:cubicBezTo>
                    <a:pt x="1117976" y="670027"/>
                    <a:pt x="1120743" y="669207"/>
                    <a:pt x="1085489" y="712864"/>
                  </a:cubicBezTo>
                  <a:cubicBezTo>
                    <a:pt x="1004631" y="628522"/>
                    <a:pt x="943244" y="633031"/>
                    <a:pt x="869149" y="706101"/>
                  </a:cubicBezTo>
                  <a:cubicBezTo>
                    <a:pt x="869355" y="578511"/>
                    <a:pt x="931459" y="578511"/>
                    <a:pt x="1024103" y="562113"/>
                  </a:cubicBezTo>
                  <a:cubicBezTo>
                    <a:pt x="923568" y="513844"/>
                    <a:pt x="883190" y="522760"/>
                    <a:pt x="881858" y="432986"/>
                  </a:cubicBezTo>
                  <a:cubicBezTo>
                    <a:pt x="881243" y="391584"/>
                    <a:pt x="882165" y="350591"/>
                    <a:pt x="881858" y="308983"/>
                  </a:cubicBezTo>
                  <a:cubicBezTo>
                    <a:pt x="881345" y="230379"/>
                    <a:pt x="923363" y="211625"/>
                    <a:pt x="975116" y="215417"/>
                  </a:cubicBezTo>
                  <a:cubicBezTo>
                    <a:pt x="1030661" y="219414"/>
                    <a:pt x="1047366" y="245137"/>
                    <a:pt x="1049723" y="279981"/>
                  </a:cubicBezTo>
                  <a:cubicBezTo>
                    <a:pt x="1054745" y="353050"/>
                    <a:pt x="1059561" y="350181"/>
                    <a:pt x="1079853" y="397937"/>
                  </a:cubicBezTo>
                  <a:cubicBezTo>
                    <a:pt x="1113672" y="477566"/>
                    <a:pt x="1022053" y="478796"/>
                    <a:pt x="990694" y="433704"/>
                  </a:cubicBezTo>
                  <a:cubicBezTo>
                    <a:pt x="973066" y="486892"/>
                    <a:pt x="997457" y="528602"/>
                    <a:pt x="1079545" y="530447"/>
                  </a:cubicBezTo>
                  <a:cubicBezTo>
                    <a:pt x="1122076" y="531369"/>
                    <a:pt x="1164298" y="511487"/>
                    <a:pt x="1194223" y="471622"/>
                  </a:cubicBezTo>
                  <a:cubicBezTo>
                    <a:pt x="1246693" y="611510"/>
                    <a:pt x="1355324" y="641230"/>
                    <a:pt x="1485579" y="563036"/>
                  </a:cubicBezTo>
                  <a:cubicBezTo>
                    <a:pt x="1362703" y="533009"/>
                    <a:pt x="1294348" y="466600"/>
                    <a:pt x="1257351" y="373137"/>
                  </a:cubicBezTo>
                  <a:cubicBezTo>
                    <a:pt x="1176493" y="168788"/>
                    <a:pt x="1140420" y="178626"/>
                    <a:pt x="1034453" y="157617"/>
                  </a:cubicBezTo>
                  <a:cubicBezTo>
                    <a:pt x="1153025" y="62514"/>
                    <a:pt x="1289941" y="97973"/>
                    <a:pt x="1318124" y="252516"/>
                  </a:cubicBezTo>
                  <a:cubicBezTo>
                    <a:pt x="1348048" y="212650"/>
                    <a:pt x="1390271" y="192769"/>
                    <a:pt x="1432800" y="193691"/>
                  </a:cubicBezTo>
                  <a:cubicBezTo>
                    <a:pt x="1514888" y="195536"/>
                    <a:pt x="1539279" y="237246"/>
                    <a:pt x="1521653" y="290434"/>
                  </a:cubicBezTo>
                  <a:cubicBezTo>
                    <a:pt x="1490293" y="245342"/>
                    <a:pt x="1398674" y="246572"/>
                    <a:pt x="1432493" y="326200"/>
                  </a:cubicBezTo>
                  <a:cubicBezTo>
                    <a:pt x="1452784" y="373957"/>
                    <a:pt x="1457601" y="371087"/>
                    <a:pt x="1462623" y="444157"/>
                  </a:cubicBezTo>
                  <a:cubicBezTo>
                    <a:pt x="1464980" y="479001"/>
                    <a:pt x="1481684" y="504724"/>
                    <a:pt x="1537229" y="508720"/>
                  </a:cubicBezTo>
                  <a:cubicBezTo>
                    <a:pt x="1588983" y="512410"/>
                    <a:pt x="1631001" y="493656"/>
                    <a:pt x="1630488" y="415154"/>
                  </a:cubicBezTo>
                  <a:cubicBezTo>
                    <a:pt x="1630181" y="373444"/>
                    <a:pt x="1631206" y="332554"/>
                    <a:pt x="1630591" y="291151"/>
                  </a:cubicBezTo>
                  <a:cubicBezTo>
                    <a:pt x="1629156" y="201377"/>
                    <a:pt x="1588881" y="210293"/>
                    <a:pt x="1488346" y="162024"/>
                  </a:cubicBezTo>
                  <a:cubicBezTo>
                    <a:pt x="1580989" y="145524"/>
                    <a:pt x="1641249" y="143680"/>
                    <a:pt x="1643299" y="21009"/>
                  </a:cubicBezTo>
                  <a:cubicBezTo>
                    <a:pt x="1569204" y="87520"/>
                    <a:pt x="1507817" y="92029"/>
                    <a:pt x="1426959" y="7686"/>
                  </a:cubicBezTo>
                  <a:cubicBezTo>
                    <a:pt x="1391706" y="51446"/>
                    <a:pt x="1394575" y="50626"/>
                    <a:pt x="1349585" y="76247"/>
                  </a:cubicBezTo>
                  <a:cubicBezTo>
                    <a:pt x="1280820" y="44887"/>
                    <a:pt x="1239212" y="25723"/>
                    <a:pt x="1161736" y="39251"/>
                  </a:cubicBezTo>
                  <a:cubicBezTo>
                    <a:pt x="1067965" y="55545"/>
                    <a:pt x="986082" y="107811"/>
                    <a:pt x="920493" y="179856"/>
                  </a:cubicBezTo>
                  <a:cubicBezTo>
                    <a:pt x="922133" y="91926"/>
                    <a:pt x="921621" y="68253"/>
                    <a:pt x="839942" y="13528"/>
                  </a:cubicBezTo>
                  <a:cubicBezTo>
                    <a:pt x="773637" y="56775"/>
                    <a:pt x="757752" y="91926"/>
                    <a:pt x="759392" y="179856"/>
                  </a:cubicBezTo>
                  <a:cubicBezTo>
                    <a:pt x="693906" y="107811"/>
                    <a:pt x="612023" y="55545"/>
                    <a:pt x="518251" y="39251"/>
                  </a:cubicBezTo>
                  <a:cubicBezTo>
                    <a:pt x="440878" y="25723"/>
                    <a:pt x="399167" y="44887"/>
                    <a:pt x="330402" y="76247"/>
                  </a:cubicBezTo>
                  <a:cubicBezTo>
                    <a:pt x="285515" y="50524"/>
                    <a:pt x="288282" y="51343"/>
                    <a:pt x="253028" y="7686"/>
                  </a:cubicBezTo>
                  <a:cubicBezTo>
                    <a:pt x="172170" y="92029"/>
                    <a:pt x="110783" y="87520"/>
                    <a:pt x="36689" y="14450"/>
                  </a:cubicBezTo>
                  <a:cubicBezTo>
                    <a:pt x="36894" y="142040"/>
                    <a:pt x="98998" y="141938"/>
                    <a:pt x="191641" y="158437"/>
                  </a:cubicBezTo>
                  <a:cubicBezTo>
                    <a:pt x="91107" y="206706"/>
                    <a:pt x="50831" y="197790"/>
                    <a:pt x="49396" y="287564"/>
                  </a:cubicBezTo>
                  <a:cubicBezTo>
                    <a:pt x="48782" y="328967"/>
                    <a:pt x="49704" y="369960"/>
                    <a:pt x="49499" y="411568"/>
                  </a:cubicBezTo>
                  <a:cubicBezTo>
                    <a:pt x="48987" y="490171"/>
                    <a:pt x="91004" y="508925"/>
                    <a:pt x="142758" y="505134"/>
                  </a:cubicBezTo>
                  <a:cubicBezTo>
                    <a:pt x="198303" y="501137"/>
                    <a:pt x="215008" y="475414"/>
                    <a:pt x="217364" y="440570"/>
                  </a:cubicBezTo>
                  <a:cubicBezTo>
                    <a:pt x="222386" y="367500"/>
                    <a:pt x="227203" y="370370"/>
                    <a:pt x="247494" y="322613"/>
                  </a:cubicBezTo>
                  <a:cubicBezTo>
                    <a:pt x="281313" y="242985"/>
                    <a:pt x="189694" y="241755"/>
                    <a:pt x="158335" y="286847"/>
                  </a:cubicBezTo>
                  <a:cubicBezTo>
                    <a:pt x="140708" y="233659"/>
                    <a:pt x="165201" y="191949"/>
                    <a:pt x="247187" y="190104"/>
                  </a:cubicBezTo>
                  <a:cubicBezTo>
                    <a:pt x="289717" y="189182"/>
                    <a:pt x="331939" y="209063"/>
                    <a:pt x="361864" y="248929"/>
                  </a:cubicBezTo>
                  <a:cubicBezTo>
                    <a:pt x="414335" y="109041"/>
                    <a:pt x="522966" y="79321"/>
                    <a:pt x="653221" y="157515"/>
                  </a:cubicBezTo>
                  <a:cubicBezTo>
                    <a:pt x="530344" y="187542"/>
                    <a:pt x="461989" y="253950"/>
                    <a:pt x="424993" y="347414"/>
                  </a:cubicBezTo>
                  <a:cubicBezTo>
                    <a:pt x="344237" y="551660"/>
                    <a:pt x="308061" y="541925"/>
                    <a:pt x="202197" y="562933"/>
                  </a:cubicBezTo>
                  <a:cubicBezTo>
                    <a:pt x="320769" y="658037"/>
                    <a:pt x="457685" y="622578"/>
                    <a:pt x="485867" y="468035"/>
                  </a:cubicBezTo>
                  <a:cubicBezTo>
                    <a:pt x="515792" y="507901"/>
                    <a:pt x="558014" y="527782"/>
                    <a:pt x="600545" y="526860"/>
                  </a:cubicBezTo>
                  <a:cubicBezTo>
                    <a:pt x="682633" y="525015"/>
                    <a:pt x="707024" y="483305"/>
                    <a:pt x="689396" y="430117"/>
                  </a:cubicBezTo>
                  <a:cubicBezTo>
                    <a:pt x="658139" y="475209"/>
                    <a:pt x="566418" y="473979"/>
                    <a:pt x="600237" y="394351"/>
                  </a:cubicBezTo>
                  <a:cubicBezTo>
                    <a:pt x="620529" y="346594"/>
                    <a:pt x="625345" y="349463"/>
                    <a:pt x="630367" y="276394"/>
                  </a:cubicBezTo>
                  <a:cubicBezTo>
                    <a:pt x="632724" y="241550"/>
                    <a:pt x="649429" y="215827"/>
                    <a:pt x="704974" y="211830"/>
                  </a:cubicBezTo>
                  <a:cubicBezTo>
                    <a:pt x="756727" y="208141"/>
                    <a:pt x="798744" y="226895"/>
                    <a:pt x="798232" y="305396"/>
                  </a:cubicBezTo>
                  <a:cubicBezTo>
                    <a:pt x="798028" y="347106"/>
                    <a:pt x="798950" y="387997"/>
                    <a:pt x="798335" y="429399"/>
                  </a:cubicBezTo>
                  <a:cubicBezTo>
                    <a:pt x="796900" y="519174"/>
                    <a:pt x="756625" y="510258"/>
                    <a:pt x="656090" y="558527"/>
                  </a:cubicBezTo>
                  <a:cubicBezTo>
                    <a:pt x="748733" y="575026"/>
                    <a:pt x="808993" y="576871"/>
                    <a:pt x="811042" y="699542"/>
                  </a:cubicBezTo>
                  <a:cubicBezTo>
                    <a:pt x="736948" y="633031"/>
                    <a:pt x="675562" y="628522"/>
                    <a:pt x="594703" y="712864"/>
                  </a:cubicBezTo>
                  <a:cubicBezTo>
                    <a:pt x="559449" y="669105"/>
                    <a:pt x="562319" y="669925"/>
                    <a:pt x="517329" y="644304"/>
                  </a:cubicBezTo>
                  <a:cubicBezTo>
                    <a:pt x="448564" y="675663"/>
                    <a:pt x="406956" y="694828"/>
                    <a:pt x="329480" y="681300"/>
                  </a:cubicBezTo>
                  <a:cubicBezTo>
                    <a:pt x="235709" y="665005"/>
                    <a:pt x="153826" y="612740"/>
                    <a:pt x="88237" y="540695"/>
                  </a:cubicBezTo>
                  <a:cubicBezTo>
                    <a:pt x="89877" y="628624"/>
                    <a:pt x="89365" y="652298"/>
                    <a:pt x="7686" y="706613"/>
                  </a:cubicBezTo>
                  <a:lnTo>
                    <a:pt x="7686" y="746888"/>
                  </a:lnTo>
                  <a:lnTo>
                    <a:pt x="1672199" y="746888"/>
                  </a:lnTo>
                  <a:lnTo>
                    <a:pt x="1672199" y="7050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07CF8B7A-CC3C-47FB-A81B-18E755A63041}"/>
                </a:ext>
              </a:extLst>
            </p:cNvPr>
            <p:cNvSpPr/>
            <p:nvPr userDrawn="1"/>
          </p:nvSpPr>
          <p:spPr>
            <a:xfrm>
              <a:off x="8001000" y="4320454"/>
              <a:ext cx="1143000" cy="511895"/>
            </a:xfrm>
            <a:custGeom>
              <a:avLst/>
              <a:gdLst>
                <a:gd name="connsiteX0" fmla="*/ 1672506 w 1670455"/>
                <a:gd name="connsiteY0" fmla="*/ 705076 h 748118"/>
                <a:gd name="connsiteX1" fmla="*/ 1591955 w 1670455"/>
                <a:gd name="connsiteY1" fmla="*/ 540695 h 748118"/>
                <a:gd name="connsiteX2" fmla="*/ 1350713 w 1670455"/>
                <a:gd name="connsiteY2" fmla="*/ 681300 h 748118"/>
                <a:gd name="connsiteX3" fmla="*/ 1162863 w 1670455"/>
                <a:gd name="connsiteY3" fmla="*/ 644304 h 748118"/>
                <a:gd name="connsiteX4" fmla="*/ 1085489 w 1670455"/>
                <a:gd name="connsiteY4" fmla="*/ 712864 h 748118"/>
                <a:gd name="connsiteX5" fmla="*/ 869149 w 1670455"/>
                <a:gd name="connsiteY5" fmla="*/ 706101 h 748118"/>
                <a:gd name="connsiteX6" fmla="*/ 1024103 w 1670455"/>
                <a:gd name="connsiteY6" fmla="*/ 562113 h 748118"/>
                <a:gd name="connsiteX7" fmla="*/ 881858 w 1670455"/>
                <a:gd name="connsiteY7" fmla="*/ 432986 h 748118"/>
                <a:gd name="connsiteX8" fmla="*/ 881858 w 1670455"/>
                <a:gd name="connsiteY8" fmla="*/ 308983 h 748118"/>
                <a:gd name="connsiteX9" fmla="*/ 975116 w 1670455"/>
                <a:gd name="connsiteY9" fmla="*/ 215417 h 748118"/>
                <a:gd name="connsiteX10" fmla="*/ 1049723 w 1670455"/>
                <a:gd name="connsiteY10" fmla="*/ 279981 h 748118"/>
                <a:gd name="connsiteX11" fmla="*/ 1079853 w 1670455"/>
                <a:gd name="connsiteY11" fmla="*/ 397937 h 748118"/>
                <a:gd name="connsiteX12" fmla="*/ 990694 w 1670455"/>
                <a:gd name="connsiteY12" fmla="*/ 433704 h 748118"/>
                <a:gd name="connsiteX13" fmla="*/ 1079545 w 1670455"/>
                <a:gd name="connsiteY13" fmla="*/ 530447 h 748118"/>
                <a:gd name="connsiteX14" fmla="*/ 1194223 w 1670455"/>
                <a:gd name="connsiteY14" fmla="*/ 471622 h 748118"/>
                <a:gd name="connsiteX15" fmla="*/ 1485579 w 1670455"/>
                <a:gd name="connsiteY15" fmla="*/ 563036 h 748118"/>
                <a:gd name="connsiteX16" fmla="*/ 1257351 w 1670455"/>
                <a:gd name="connsiteY16" fmla="*/ 373137 h 748118"/>
                <a:gd name="connsiteX17" fmla="*/ 1034453 w 1670455"/>
                <a:gd name="connsiteY17" fmla="*/ 157617 h 748118"/>
                <a:gd name="connsiteX18" fmla="*/ 1318124 w 1670455"/>
                <a:gd name="connsiteY18" fmla="*/ 252516 h 748118"/>
                <a:gd name="connsiteX19" fmla="*/ 1432800 w 1670455"/>
                <a:gd name="connsiteY19" fmla="*/ 193691 h 748118"/>
                <a:gd name="connsiteX20" fmla="*/ 1521653 w 1670455"/>
                <a:gd name="connsiteY20" fmla="*/ 290434 h 748118"/>
                <a:gd name="connsiteX21" fmla="*/ 1432493 w 1670455"/>
                <a:gd name="connsiteY21" fmla="*/ 326200 h 748118"/>
                <a:gd name="connsiteX22" fmla="*/ 1462623 w 1670455"/>
                <a:gd name="connsiteY22" fmla="*/ 444157 h 748118"/>
                <a:gd name="connsiteX23" fmla="*/ 1537229 w 1670455"/>
                <a:gd name="connsiteY23" fmla="*/ 508720 h 748118"/>
                <a:gd name="connsiteX24" fmla="*/ 1630488 w 1670455"/>
                <a:gd name="connsiteY24" fmla="*/ 415154 h 748118"/>
                <a:gd name="connsiteX25" fmla="*/ 1630591 w 1670455"/>
                <a:gd name="connsiteY25" fmla="*/ 291151 h 748118"/>
                <a:gd name="connsiteX26" fmla="*/ 1488346 w 1670455"/>
                <a:gd name="connsiteY26" fmla="*/ 162024 h 748118"/>
                <a:gd name="connsiteX27" fmla="*/ 1643299 w 1670455"/>
                <a:gd name="connsiteY27" fmla="*/ 21009 h 748118"/>
                <a:gd name="connsiteX28" fmla="*/ 1426959 w 1670455"/>
                <a:gd name="connsiteY28" fmla="*/ 7686 h 748118"/>
                <a:gd name="connsiteX29" fmla="*/ 1349585 w 1670455"/>
                <a:gd name="connsiteY29" fmla="*/ 76247 h 748118"/>
                <a:gd name="connsiteX30" fmla="*/ 1161736 w 1670455"/>
                <a:gd name="connsiteY30" fmla="*/ 39251 h 748118"/>
                <a:gd name="connsiteX31" fmla="*/ 920493 w 1670455"/>
                <a:gd name="connsiteY31" fmla="*/ 179856 h 748118"/>
                <a:gd name="connsiteX32" fmla="*/ 839942 w 1670455"/>
                <a:gd name="connsiteY32" fmla="*/ 13528 h 748118"/>
                <a:gd name="connsiteX33" fmla="*/ 759392 w 1670455"/>
                <a:gd name="connsiteY33" fmla="*/ 179856 h 748118"/>
                <a:gd name="connsiteX34" fmla="*/ 518251 w 1670455"/>
                <a:gd name="connsiteY34" fmla="*/ 39251 h 748118"/>
                <a:gd name="connsiteX35" fmla="*/ 330402 w 1670455"/>
                <a:gd name="connsiteY35" fmla="*/ 76247 h 748118"/>
                <a:gd name="connsiteX36" fmla="*/ 253028 w 1670455"/>
                <a:gd name="connsiteY36" fmla="*/ 7686 h 748118"/>
                <a:gd name="connsiteX37" fmla="*/ 36689 w 1670455"/>
                <a:gd name="connsiteY37" fmla="*/ 14450 h 748118"/>
                <a:gd name="connsiteX38" fmla="*/ 191641 w 1670455"/>
                <a:gd name="connsiteY38" fmla="*/ 158437 h 748118"/>
                <a:gd name="connsiteX39" fmla="*/ 49396 w 1670455"/>
                <a:gd name="connsiteY39" fmla="*/ 287564 h 748118"/>
                <a:gd name="connsiteX40" fmla="*/ 49499 w 1670455"/>
                <a:gd name="connsiteY40" fmla="*/ 411568 h 748118"/>
                <a:gd name="connsiteX41" fmla="*/ 142758 w 1670455"/>
                <a:gd name="connsiteY41" fmla="*/ 505134 h 748118"/>
                <a:gd name="connsiteX42" fmla="*/ 217364 w 1670455"/>
                <a:gd name="connsiteY42" fmla="*/ 440570 h 748118"/>
                <a:gd name="connsiteX43" fmla="*/ 247494 w 1670455"/>
                <a:gd name="connsiteY43" fmla="*/ 322613 h 748118"/>
                <a:gd name="connsiteX44" fmla="*/ 158335 w 1670455"/>
                <a:gd name="connsiteY44" fmla="*/ 286847 h 748118"/>
                <a:gd name="connsiteX45" fmla="*/ 247187 w 1670455"/>
                <a:gd name="connsiteY45" fmla="*/ 190104 h 748118"/>
                <a:gd name="connsiteX46" fmla="*/ 361864 w 1670455"/>
                <a:gd name="connsiteY46" fmla="*/ 248929 h 748118"/>
                <a:gd name="connsiteX47" fmla="*/ 653221 w 1670455"/>
                <a:gd name="connsiteY47" fmla="*/ 157515 h 748118"/>
                <a:gd name="connsiteX48" fmla="*/ 424993 w 1670455"/>
                <a:gd name="connsiteY48" fmla="*/ 347414 h 748118"/>
                <a:gd name="connsiteX49" fmla="*/ 202197 w 1670455"/>
                <a:gd name="connsiteY49" fmla="*/ 562933 h 748118"/>
                <a:gd name="connsiteX50" fmla="*/ 485867 w 1670455"/>
                <a:gd name="connsiteY50" fmla="*/ 468035 h 748118"/>
                <a:gd name="connsiteX51" fmla="*/ 600545 w 1670455"/>
                <a:gd name="connsiteY51" fmla="*/ 526860 h 748118"/>
                <a:gd name="connsiteX52" fmla="*/ 689396 w 1670455"/>
                <a:gd name="connsiteY52" fmla="*/ 430117 h 748118"/>
                <a:gd name="connsiteX53" fmla="*/ 600237 w 1670455"/>
                <a:gd name="connsiteY53" fmla="*/ 394351 h 748118"/>
                <a:gd name="connsiteX54" fmla="*/ 630367 w 1670455"/>
                <a:gd name="connsiteY54" fmla="*/ 276394 h 748118"/>
                <a:gd name="connsiteX55" fmla="*/ 704974 w 1670455"/>
                <a:gd name="connsiteY55" fmla="*/ 211830 h 748118"/>
                <a:gd name="connsiteX56" fmla="*/ 798232 w 1670455"/>
                <a:gd name="connsiteY56" fmla="*/ 305396 h 748118"/>
                <a:gd name="connsiteX57" fmla="*/ 798335 w 1670455"/>
                <a:gd name="connsiteY57" fmla="*/ 429399 h 748118"/>
                <a:gd name="connsiteX58" fmla="*/ 656090 w 1670455"/>
                <a:gd name="connsiteY58" fmla="*/ 558527 h 748118"/>
                <a:gd name="connsiteX59" fmla="*/ 811042 w 1670455"/>
                <a:gd name="connsiteY59" fmla="*/ 699542 h 748118"/>
                <a:gd name="connsiteX60" fmla="*/ 594703 w 1670455"/>
                <a:gd name="connsiteY60" fmla="*/ 712864 h 748118"/>
                <a:gd name="connsiteX61" fmla="*/ 517329 w 1670455"/>
                <a:gd name="connsiteY61" fmla="*/ 644304 h 748118"/>
                <a:gd name="connsiteX62" fmla="*/ 329480 w 1670455"/>
                <a:gd name="connsiteY62" fmla="*/ 681300 h 748118"/>
                <a:gd name="connsiteX63" fmla="*/ 88237 w 1670455"/>
                <a:gd name="connsiteY63" fmla="*/ 540695 h 748118"/>
                <a:gd name="connsiteX64" fmla="*/ 7686 w 1670455"/>
                <a:gd name="connsiteY64" fmla="*/ 706613 h 748118"/>
                <a:gd name="connsiteX65" fmla="*/ 7686 w 1670455"/>
                <a:gd name="connsiteY65" fmla="*/ 746888 h 748118"/>
                <a:gd name="connsiteX66" fmla="*/ 1672199 w 1670455"/>
                <a:gd name="connsiteY66" fmla="*/ 746888 h 748118"/>
                <a:gd name="connsiteX67" fmla="*/ 1672199 w 1670455"/>
                <a:gd name="connsiteY67" fmla="*/ 705076 h 74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70455" h="748118">
                  <a:moveTo>
                    <a:pt x="1672506" y="705076"/>
                  </a:moveTo>
                  <a:cubicBezTo>
                    <a:pt x="1606200" y="663776"/>
                    <a:pt x="1590316" y="628624"/>
                    <a:pt x="1591955" y="540695"/>
                  </a:cubicBezTo>
                  <a:cubicBezTo>
                    <a:pt x="1526469" y="612740"/>
                    <a:pt x="1444586" y="665005"/>
                    <a:pt x="1350713" y="681300"/>
                  </a:cubicBezTo>
                  <a:cubicBezTo>
                    <a:pt x="1273338" y="694828"/>
                    <a:pt x="1231731" y="675663"/>
                    <a:pt x="1162863" y="644304"/>
                  </a:cubicBezTo>
                  <a:cubicBezTo>
                    <a:pt x="1117976" y="670027"/>
                    <a:pt x="1120743" y="669207"/>
                    <a:pt x="1085489" y="712864"/>
                  </a:cubicBezTo>
                  <a:cubicBezTo>
                    <a:pt x="1004631" y="628522"/>
                    <a:pt x="943244" y="633031"/>
                    <a:pt x="869149" y="706101"/>
                  </a:cubicBezTo>
                  <a:cubicBezTo>
                    <a:pt x="869355" y="578511"/>
                    <a:pt x="931459" y="578511"/>
                    <a:pt x="1024103" y="562113"/>
                  </a:cubicBezTo>
                  <a:cubicBezTo>
                    <a:pt x="923568" y="513844"/>
                    <a:pt x="883190" y="522760"/>
                    <a:pt x="881858" y="432986"/>
                  </a:cubicBezTo>
                  <a:cubicBezTo>
                    <a:pt x="881243" y="391584"/>
                    <a:pt x="882165" y="350591"/>
                    <a:pt x="881858" y="308983"/>
                  </a:cubicBezTo>
                  <a:cubicBezTo>
                    <a:pt x="881345" y="230379"/>
                    <a:pt x="923363" y="211625"/>
                    <a:pt x="975116" y="215417"/>
                  </a:cubicBezTo>
                  <a:cubicBezTo>
                    <a:pt x="1030661" y="219414"/>
                    <a:pt x="1047366" y="245137"/>
                    <a:pt x="1049723" y="279981"/>
                  </a:cubicBezTo>
                  <a:cubicBezTo>
                    <a:pt x="1054745" y="353050"/>
                    <a:pt x="1059561" y="350181"/>
                    <a:pt x="1079853" y="397937"/>
                  </a:cubicBezTo>
                  <a:cubicBezTo>
                    <a:pt x="1113672" y="477566"/>
                    <a:pt x="1022053" y="478796"/>
                    <a:pt x="990694" y="433704"/>
                  </a:cubicBezTo>
                  <a:cubicBezTo>
                    <a:pt x="973066" y="486892"/>
                    <a:pt x="997457" y="528602"/>
                    <a:pt x="1079545" y="530447"/>
                  </a:cubicBezTo>
                  <a:cubicBezTo>
                    <a:pt x="1122076" y="531369"/>
                    <a:pt x="1164298" y="511487"/>
                    <a:pt x="1194223" y="471622"/>
                  </a:cubicBezTo>
                  <a:cubicBezTo>
                    <a:pt x="1246693" y="611510"/>
                    <a:pt x="1355324" y="641230"/>
                    <a:pt x="1485579" y="563036"/>
                  </a:cubicBezTo>
                  <a:cubicBezTo>
                    <a:pt x="1362703" y="533009"/>
                    <a:pt x="1294348" y="466600"/>
                    <a:pt x="1257351" y="373137"/>
                  </a:cubicBezTo>
                  <a:cubicBezTo>
                    <a:pt x="1176493" y="168788"/>
                    <a:pt x="1140420" y="178626"/>
                    <a:pt x="1034453" y="157617"/>
                  </a:cubicBezTo>
                  <a:cubicBezTo>
                    <a:pt x="1153025" y="62514"/>
                    <a:pt x="1289941" y="97973"/>
                    <a:pt x="1318124" y="252516"/>
                  </a:cubicBezTo>
                  <a:cubicBezTo>
                    <a:pt x="1348048" y="212650"/>
                    <a:pt x="1390271" y="192769"/>
                    <a:pt x="1432800" y="193691"/>
                  </a:cubicBezTo>
                  <a:cubicBezTo>
                    <a:pt x="1514888" y="195536"/>
                    <a:pt x="1539279" y="237246"/>
                    <a:pt x="1521653" y="290434"/>
                  </a:cubicBezTo>
                  <a:cubicBezTo>
                    <a:pt x="1490293" y="245342"/>
                    <a:pt x="1398674" y="246572"/>
                    <a:pt x="1432493" y="326200"/>
                  </a:cubicBezTo>
                  <a:cubicBezTo>
                    <a:pt x="1452784" y="373957"/>
                    <a:pt x="1457601" y="371087"/>
                    <a:pt x="1462623" y="444157"/>
                  </a:cubicBezTo>
                  <a:cubicBezTo>
                    <a:pt x="1464980" y="479001"/>
                    <a:pt x="1481684" y="504724"/>
                    <a:pt x="1537229" y="508720"/>
                  </a:cubicBezTo>
                  <a:cubicBezTo>
                    <a:pt x="1588983" y="512410"/>
                    <a:pt x="1631001" y="493656"/>
                    <a:pt x="1630488" y="415154"/>
                  </a:cubicBezTo>
                  <a:cubicBezTo>
                    <a:pt x="1630181" y="373444"/>
                    <a:pt x="1631206" y="332554"/>
                    <a:pt x="1630591" y="291151"/>
                  </a:cubicBezTo>
                  <a:cubicBezTo>
                    <a:pt x="1629156" y="201377"/>
                    <a:pt x="1588881" y="210293"/>
                    <a:pt x="1488346" y="162024"/>
                  </a:cubicBezTo>
                  <a:cubicBezTo>
                    <a:pt x="1580989" y="145524"/>
                    <a:pt x="1641249" y="143680"/>
                    <a:pt x="1643299" y="21009"/>
                  </a:cubicBezTo>
                  <a:cubicBezTo>
                    <a:pt x="1569204" y="87520"/>
                    <a:pt x="1507817" y="92029"/>
                    <a:pt x="1426959" y="7686"/>
                  </a:cubicBezTo>
                  <a:cubicBezTo>
                    <a:pt x="1391706" y="51446"/>
                    <a:pt x="1394575" y="50626"/>
                    <a:pt x="1349585" y="76247"/>
                  </a:cubicBezTo>
                  <a:cubicBezTo>
                    <a:pt x="1280820" y="44887"/>
                    <a:pt x="1239212" y="25723"/>
                    <a:pt x="1161736" y="39251"/>
                  </a:cubicBezTo>
                  <a:cubicBezTo>
                    <a:pt x="1067965" y="55545"/>
                    <a:pt x="986082" y="107811"/>
                    <a:pt x="920493" y="179856"/>
                  </a:cubicBezTo>
                  <a:cubicBezTo>
                    <a:pt x="922133" y="91926"/>
                    <a:pt x="921621" y="68253"/>
                    <a:pt x="839942" y="13528"/>
                  </a:cubicBezTo>
                  <a:cubicBezTo>
                    <a:pt x="773637" y="56775"/>
                    <a:pt x="757752" y="91926"/>
                    <a:pt x="759392" y="179856"/>
                  </a:cubicBezTo>
                  <a:cubicBezTo>
                    <a:pt x="693906" y="107811"/>
                    <a:pt x="612023" y="55545"/>
                    <a:pt x="518251" y="39251"/>
                  </a:cubicBezTo>
                  <a:cubicBezTo>
                    <a:pt x="440878" y="25723"/>
                    <a:pt x="399167" y="44887"/>
                    <a:pt x="330402" y="76247"/>
                  </a:cubicBezTo>
                  <a:cubicBezTo>
                    <a:pt x="285515" y="50524"/>
                    <a:pt x="288282" y="51343"/>
                    <a:pt x="253028" y="7686"/>
                  </a:cubicBezTo>
                  <a:cubicBezTo>
                    <a:pt x="172170" y="92029"/>
                    <a:pt x="110783" y="87520"/>
                    <a:pt x="36689" y="14450"/>
                  </a:cubicBezTo>
                  <a:cubicBezTo>
                    <a:pt x="36894" y="142040"/>
                    <a:pt x="98998" y="141938"/>
                    <a:pt x="191641" y="158437"/>
                  </a:cubicBezTo>
                  <a:cubicBezTo>
                    <a:pt x="91107" y="206706"/>
                    <a:pt x="50831" y="197790"/>
                    <a:pt x="49396" y="287564"/>
                  </a:cubicBezTo>
                  <a:cubicBezTo>
                    <a:pt x="48782" y="328967"/>
                    <a:pt x="49704" y="369960"/>
                    <a:pt x="49499" y="411568"/>
                  </a:cubicBezTo>
                  <a:cubicBezTo>
                    <a:pt x="48987" y="490171"/>
                    <a:pt x="91004" y="508925"/>
                    <a:pt x="142758" y="505134"/>
                  </a:cubicBezTo>
                  <a:cubicBezTo>
                    <a:pt x="198303" y="501137"/>
                    <a:pt x="215008" y="475414"/>
                    <a:pt x="217364" y="440570"/>
                  </a:cubicBezTo>
                  <a:cubicBezTo>
                    <a:pt x="222386" y="367500"/>
                    <a:pt x="227203" y="370370"/>
                    <a:pt x="247494" y="322613"/>
                  </a:cubicBezTo>
                  <a:cubicBezTo>
                    <a:pt x="281313" y="242985"/>
                    <a:pt x="189694" y="241755"/>
                    <a:pt x="158335" y="286847"/>
                  </a:cubicBezTo>
                  <a:cubicBezTo>
                    <a:pt x="140708" y="233659"/>
                    <a:pt x="165201" y="191949"/>
                    <a:pt x="247187" y="190104"/>
                  </a:cubicBezTo>
                  <a:cubicBezTo>
                    <a:pt x="289717" y="189182"/>
                    <a:pt x="331939" y="209063"/>
                    <a:pt x="361864" y="248929"/>
                  </a:cubicBezTo>
                  <a:cubicBezTo>
                    <a:pt x="414335" y="109041"/>
                    <a:pt x="522966" y="79321"/>
                    <a:pt x="653221" y="157515"/>
                  </a:cubicBezTo>
                  <a:cubicBezTo>
                    <a:pt x="530344" y="187542"/>
                    <a:pt x="461989" y="253950"/>
                    <a:pt x="424993" y="347414"/>
                  </a:cubicBezTo>
                  <a:cubicBezTo>
                    <a:pt x="344237" y="551660"/>
                    <a:pt x="308061" y="541925"/>
                    <a:pt x="202197" y="562933"/>
                  </a:cubicBezTo>
                  <a:cubicBezTo>
                    <a:pt x="320769" y="658037"/>
                    <a:pt x="457685" y="622578"/>
                    <a:pt x="485867" y="468035"/>
                  </a:cubicBezTo>
                  <a:cubicBezTo>
                    <a:pt x="515792" y="507901"/>
                    <a:pt x="558014" y="527782"/>
                    <a:pt x="600545" y="526860"/>
                  </a:cubicBezTo>
                  <a:cubicBezTo>
                    <a:pt x="682633" y="525015"/>
                    <a:pt x="707024" y="483305"/>
                    <a:pt x="689396" y="430117"/>
                  </a:cubicBezTo>
                  <a:cubicBezTo>
                    <a:pt x="658139" y="475209"/>
                    <a:pt x="566418" y="473979"/>
                    <a:pt x="600237" y="394351"/>
                  </a:cubicBezTo>
                  <a:cubicBezTo>
                    <a:pt x="620529" y="346594"/>
                    <a:pt x="625345" y="349463"/>
                    <a:pt x="630367" y="276394"/>
                  </a:cubicBezTo>
                  <a:cubicBezTo>
                    <a:pt x="632724" y="241550"/>
                    <a:pt x="649429" y="215827"/>
                    <a:pt x="704974" y="211830"/>
                  </a:cubicBezTo>
                  <a:cubicBezTo>
                    <a:pt x="756727" y="208141"/>
                    <a:pt x="798744" y="226895"/>
                    <a:pt x="798232" y="305396"/>
                  </a:cubicBezTo>
                  <a:cubicBezTo>
                    <a:pt x="798028" y="347106"/>
                    <a:pt x="798950" y="387997"/>
                    <a:pt x="798335" y="429399"/>
                  </a:cubicBezTo>
                  <a:cubicBezTo>
                    <a:pt x="796900" y="519174"/>
                    <a:pt x="756625" y="510258"/>
                    <a:pt x="656090" y="558527"/>
                  </a:cubicBezTo>
                  <a:cubicBezTo>
                    <a:pt x="748733" y="575026"/>
                    <a:pt x="808993" y="576871"/>
                    <a:pt x="811042" y="699542"/>
                  </a:cubicBezTo>
                  <a:cubicBezTo>
                    <a:pt x="736948" y="633031"/>
                    <a:pt x="675562" y="628522"/>
                    <a:pt x="594703" y="712864"/>
                  </a:cubicBezTo>
                  <a:cubicBezTo>
                    <a:pt x="559449" y="669105"/>
                    <a:pt x="562319" y="669925"/>
                    <a:pt x="517329" y="644304"/>
                  </a:cubicBezTo>
                  <a:cubicBezTo>
                    <a:pt x="448564" y="675663"/>
                    <a:pt x="406956" y="694828"/>
                    <a:pt x="329480" y="681300"/>
                  </a:cubicBezTo>
                  <a:cubicBezTo>
                    <a:pt x="235709" y="665005"/>
                    <a:pt x="153826" y="612740"/>
                    <a:pt x="88237" y="540695"/>
                  </a:cubicBezTo>
                  <a:cubicBezTo>
                    <a:pt x="89877" y="628624"/>
                    <a:pt x="89365" y="652298"/>
                    <a:pt x="7686" y="706613"/>
                  </a:cubicBezTo>
                  <a:lnTo>
                    <a:pt x="7686" y="746888"/>
                  </a:lnTo>
                  <a:lnTo>
                    <a:pt x="1672199" y="746888"/>
                  </a:lnTo>
                  <a:lnTo>
                    <a:pt x="1672199" y="7050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457F297D-4A85-4716-AA06-0A79157FF9B9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4897927"/>
              <a:ext cx="9144000" cy="89997"/>
            </a:xfrm>
            <a:prstGeom prst="rect">
              <a:avLst/>
            </a:pr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8100000" scaled="1"/>
              <a:tileRect/>
            </a:gradFill>
            <a:ln w="9525" cap="flat">
              <a:noFill/>
              <a:prstDash val="solid"/>
              <a:miter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dirty="0" err="1">
                <a:solidFill>
                  <a:schemeClr val="tx1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2790841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tangle 146">
            <a:extLst>
              <a:ext uri="{FF2B5EF4-FFF2-40B4-BE49-F238E27FC236}">
                <a16:creationId xmlns="" xmlns:a16="http://schemas.microsoft.com/office/drawing/2014/main" id="{E69D222A-CA58-44D3-AEA1-CD3A3108F6B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23643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chemeClr val="tx1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124201" y="914130"/>
            <a:ext cx="4975860" cy="15388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0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4" name="Graphic 1">
            <a:extLst>
              <a:ext uri="{FF2B5EF4-FFF2-40B4-BE49-F238E27FC236}">
                <a16:creationId xmlns="" xmlns:a16="http://schemas.microsoft.com/office/drawing/2014/main" id="{CDAC25EF-AFEA-4439-A9DB-1FDCE9105BD0}"/>
              </a:ext>
            </a:extLst>
          </p:cNvPr>
          <p:cNvSpPr/>
          <p:nvPr userDrawn="1"/>
        </p:nvSpPr>
        <p:spPr>
          <a:xfrm>
            <a:off x="1117044" y="262136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4" name="Graphic 1">
            <a:extLst>
              <a:ext uri="{FF2B5EF4-FFF2-40B4-BE49-F238E27FC236}">
                <a16:creationId xmlns="" xmlns:a16="http://schemas.microsoft.com/office/drawing/2014/main" id="{D7287174-A699-43D7-BF52-983F2C87A585}"/>
              </a:ext>
            </a:extLst>
          </p:cNvPr>
          <p:cNvSpPr/>
          <p:nvPr userDrawn="1"/>
        </p:nvSpPr>
        <p:spPr>
          <a:xfrm>
            <a:off x="1763940" y="262136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2" name="Graphic 1">
            <a:extLst>
              <a:ext uri="{FF2B5EF4-FFF2-40B4-BE49-F238E27FC236}">
                <a16:creationId xmlns="" xmlns:a16="http://schemas.microsoft.com/office/drawing/2014/main" id="{39DC19A3-2CA9-466B-9E56-5CB1315CDC62}"/>
              </a:ext>
            </a:extLst>
          </p:cNvPr>
          <p:cNvSpPr/>
          <p:nvPr userDrawn="1"/>
        </p:nvSpPr>
        <p:spPr>
          <a:xfrm>
            <a:off x="1117044" y="324644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3" name="Graphic 1">
            <a:extLst>
              <a:ext uri="{FF2B5EF4-FFF2-40B4-BE49-F238E27FC236}">
                <a16:creationId xmlns="" xmlns:a16="http://schemas.microsoft.com/office/drawing/2014/main" id="{43A6C331-DAB7-4EF7-8CD1-6D5C0CBEFD88}"/>
              </a:ext>
            </a:extLst>
          </p:cNvPr>
          <p:cNvSpPr/>
          <p:nvPr userDrawn="1"/>
        </p:nvSpPr>
        <p:spPr>
          <a:xfrm>
            <a:off x="1763940" y="324644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5" name="Graphic 1">
            <a:extLst>
              <a:ext uri="{FF2B5EF4-FFF2-40B4-BE49-F238E27FC236}">
                <a16:creationId xmlns="" xmlns:a16="http://schemas.microsoft.com/office/drawing/2014/main" id="{9CB97DE5-C22F-4254-84F1-ABC3F0984C2F}"/>
              </a:ext>
            </a:extLst>
          </p:cNvPr>
          <p:cNvSpPr/>
          <p:nvPr userDrawn="1"/>
        </p:nvSpPr>
        <p:spPr>
          <a:xfrm>
            <a:off x="1117044" y="387152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6" name="Graphic 1">
            <a:extLst>
              <a:ext uri="{FF2B5EF4-FFF2-40B4-BE49-F238E27FC236}">
                <a16:creationId xmlns="" xmlns:a16="http://schemas.microsoft.com/office/drawing/2014/main" id="{F71A59EC-7D40-411C-B49E-5A2FD5BA283D}"/>
              </a:ext>
            </a:extLst>
          </p:cNvPr>
          <p:cNvSpPr/>
          <p:nvPr userDrawn="1"/>
        </p:nvSpPr>
        <p:spPr>
          <a:xfrm>
            <a:off x="1763940" y="387152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8" name="Graphic 1">
            <a:extLst>
              <a:ext uri="{FF2B5EF4-FFF2-40B4-BE49-F238E27FC236}">
                <a16:creationId xmlns="" xmlns:a16="http://schemas.microsoft.com/office/drawing/2014/main" id="{9FD6EF18-D52A-4935-9D27-8F881CD42963}"/>
              </a:ext>
            </a:extLst>
          </p:cNvPr>
          <p:cNvSpPr/>
          <p:nvPr userDrawn="1"/>
        </p:nvSpPr>
        <p:spPr>
          <a:xfrm>
            <a:off x="1117044" y="449660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9" name="Graphic 1">
            <a:extLst>
              <a:ext uri="{FF2B5EF4-FFF2-40B4-BE49-F238E27FC236}">
                <a16:creationId xmlns="" xmlns:a16="http://schemas.microsoft.com/office/drawing/2014/main" id="{6933ADBB-F65B-498E-B689-1582A5779D00}"/>
              </a:ext>
            </a:extLst>
          </p:cNvPr>
          <p:cNvSpPr/>
          <p:nvPr userDrawn="1"/>
        </p:nvSpPr>
        <p:spPr>
          <a:xfrm>
            <a:off x="1763940" y="449660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51" name="Graphic 1">
            <a:extLst>
              <a:ext uri="{FF2B5EF4-FFF2-40B4-BE49-F238E27FC236}">
                <a16:creationId xmlns="" xmlns:a16="http://schemas.microsoft.com/office/drawing/2014/main" id="{05499356-B769-4009-900C-44722D6E5039}"/>
              </a:ext>
            </a:extLst>
          </p:cNvPr>
          <p:cNvSpPr/>
          <p:nvPr userDrawn="1"/>
        </p:nvSpPr>
        <p:spPr>
          <a:xfrm>
            <a:off x="1117044" y="0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52" name="Graphic 1">
            <a:extLst>
              <a:ext uri="{FF2B5EF4-FFF2-40B4-BE49-F238E27FC236}">
                <a16:creationId xmlns="" xmlns:a16="http://schemas.microsoft.com/office/drawing/2014/main" id="{5A8BED98-3D99-449E-8C3E-EE16F1B6D207}"/>
              </a:ext>
            </a:extLst>
          </p:cNvPr>
          <p:cNvSpPr/>
          <p:nvPr userDrawn="1"/>
        </p:nvSpPr>
        <p:spPr>
          <a:xfrm>
            <a:off x="1763940" y="0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457F297D-4A85-4716-AA06-0A79157FF9B9}"/>
              </a:ext>
            </a:extLst>
          </p:cNvPr>
          <p:cNvSpPr>
            <a:spLocks/>
          </p:cNvSpPr>
          <p:nvPr userDrawn="1"/>
        </p:nvSpPr>
        <p:spPr>
          <a:xfrm>
            <a:off x="1043940" y="2532796"/>
            <a:ext cx="1440000" cy="205987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8F561599-B680-4576-98E5-285D18786EC6}"/>
              </a:ext>
            </a:extLst>
          </p:cNvPr>
          <p:cNvSpPr>
            <a:spLocks/>
          </p:cNvSpPr>
          <p:nvPr userDrawn="1"/>
        </p:nvSpPr>
        <p:spPr>
          <a:xfrm>
            <a:off x="1043940" y="529477"/>
            <a:ext cx="1440000" cy="205987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DF005AC7-6DC5-42AD-8E68-A320BBF87316}"/>
              </a:ext>
            </a:extLst>
          </p:cNvPr>
          <p:cNvSpPr>
            <a:spLocks/>
          </p:cNvSpPr>
          <p:nvPr userDrawn="1"/>
        </p:nvSpPr>
        <p:spPr>
          <a:xfrm>
            <a:off x="1110332" y="594490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7AF18E3E-0A70-432C-9948-04775BE43EC4}"/>
              </a:ext>
            </a:extLst>
          </p:cNvPr>
          <p:cNvSpPr>
            <a:spLocks/>
          </p:cNvSpPr>
          <p:nvPr userDrawn="1"/>
        </p:nvSpPr>
        <p:spPr>
          <a:xfrm>
            <a:off x="1110332" y="2597809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5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="" xmlns:a16="http://schemas.microsoft.com/office/drawing/2014/main" id="{FFA8AA7F-ECE3-8E04-0FE4-750DB1133AC8}"/>
              </a:ext>
            </a:extLst>
          </p:cNvPr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3940" y="912867"/>
            <a:ext cx="1440000" cy="144252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16834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tangle 146">
            <a:extLst>
              <a:ext uri="{FF2B5EF4-FFF2-40B4-BE49-F238E27FC236}">
                <a16:creationId xmlns="" xmlns:a16="http://schemas.microsoft.com/office/drawing/2014/main" id="{E69D222A-CA58-44D3-AEA1-CD3A3108F6B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24667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chemeClr val="tx1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124201" y="914130"/>
            <a:ext cx="4975860" cy="15388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0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43940" y="914130"/>
            <a:ext cx="1440000" cy="1440000"/>
          </a:xfrm>
          <a:prstGeom prst="rect">
            <a:avLst/>
          </a:prstGeom>
          <a:effectLst>
            <a:outerShdw blurRad="88900" sx="102000" sy="102000" algn="ctr" rotWithShape="0">
              <a:prstClr val="black">
                <a:alpha val="13000"/>
              </a:prstClr>
            </a:outerShdw>
          </a:effectLst>
        </p:spPr>
      </p:pic>
      <p:sp>
        <p:nvSpPr>
          <p:cNvPr id="4" name="Graphic 1">
            <a:extLst>
              <a:ext uri="{FF2B5EF4-FFF2-40B4-BE49-F238E27FC236}">
                <a16:creationId xmlns="" xmlns:a16="http://schemas.microsoft.com/office/drawing/2014/main" id="{CDAC25EF-AFEA-4439-A9DB-1FDCE9105BD0}"/>
              </a:ext>
            </a:extLst>
          </p:cNvPr>
          <p:cNvSpPr/>
          <p:nvPr userDrawn="1"/>
        </p:nvSpPr>
        <p:spPr>
          <a:xfrm>
            <a:off x="1117044" y="262136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4" name="Graphic 1">
            <a:extLst>
              <a:ext uri="{FF2B5EF4-FFF2-40B4-BE49-F238E27FC236}">
                <a16:creationId xmlns="" xmlns:a16="http://schemas.microsoft.com/office/drawing/2014/main" id="{D7287174-A699-43D7-BF52-983F2C87A585}"/>
              </a:ext>
            </a:extLst>
          </p:cNvPr>
          <p:cNvSpPr/>
          <p:nvPr userDrawn="1"/>
        </p:nvSpPr>
        <p:spPr>
          <a:xfrm>
            <a:off x="1763940" y="262136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2" name="Graphic 1">
            <a:extLst>
              <a:ext uri="{FF2B5EF4-FFF2-40B4-BE49-F238E27FC236}">
                <a16:creationId xmlns="" xmlns:a16="http://schemas.microsoft.com/office/drawing/2014/main" id="{39DC19A3-2CA9-466B-9E56-5CB1315CDC62}"/>
              </a:ext>
            </a:extLst>
          </p:cNvPr>
          <p:cNvSpPr/>
          <p:nvPr userDrawn="1"/>
        </p:nvSpPr>
        <p:spPr>
          <a:xfrm>
            <a:off x="1117044" y="324644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3" name="Graphic 1">
            <a:extLst>
              <a:ext uri="{FF2B5EF4-FFF2-40B4-BE49-F238E27FC236}">
                <a16:creationId xmlns="" xmlns:a16="http://schemas.microsoft.com/office/drawing/2014/main" id="{43A6C331-DAB7-4EF7-8CD1-6D5C0CBEFD88}"/>
              </a:ext>
            </a:extLst>
          </p:cNvPr>
          <p:cNvSpPr/>
          <p:nvPr userDrawn="1"/>
        </p:nvSpPr>
        <p:spPr>
          <a:xfrm>
            <a:off x="1763940" y="324644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5" name="Graphic 1">
            <a:extLst>
              <a:ext uri="{FF2B5EF4-FFF2-40B4-BE49-F238E27FC236}">
                <a16:creationId xmlns="" xmlns:a16="http://schemas.microsoft.com/office/drawing/2014/main" id="{9CB97DE5-C22F-4254-84F1-ABC3F0984C2F}"/>
              </a:ext>
            </a:extLst>
          </p:cNvPr>
          <p:cNvSpPr/>
          <p:nvPr userDrawn="1"/>
        </p:nvSpPr>
        <p:spPr>
          <a:xfrm>
            <a:off x="1117044" y="387152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6" name="Graphic 1">
            <a:extLst>
              <a:ext uri="{FF2B5EF4-FFF2-40B4-BE49-F238E27FC236}">
                <a16:creationId xmlns="" xmlns:a16="http://schemas.microsoft.com/office/drawing/2014/main" id="{F71A59EC-7D40-411C-B49E-5A2FD5BA283D}"/>
              </a:ext>
            </a:extLst>
          </p:cNvPr>
          <p:cNvSpPr/>
          <p:nvPr userDrawn="1"/>
        </p:nvSpPr>
        <p:spPr>
          <a:xfrm>
            <a:off x="1763940" y="387152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8" name="Graphic 1">
            <a:extLst>
              <a:ext uri="{FF2B5EF4-FFF2-40B4-BE49-F238E27FC236}">
                <a16:creationId xmlns="" xmlns:a16="http://schemas.microsoft.com/office/drawing/2014/main" id="{9FD6EF18-D52A-4935-9D27-8F881CD42963}"/>
              </a:ext>
            </a:extLst>
          </p:cNvPr>
          <p:cNvSpPr/>
          <p:nvPr userDrawn="1"/>
        </p:nvSpPr>
        <p:spPr>
          <a:xfrm>
            <a:off x="1117044" y="449660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9" name="Graphic 1">
            <a:extLst>
              <a:ext uri="{FF2B5EF4-FFF2-40B4-BE49-F238E27FC236}">
                <a16:creationId xmlns="" xmlns:a16="http://schemas.microsoft.com/office/drawing/2014/main" id="{6933ADBB-F65B-498E-B689-1582A5779D00}"/>
              </a:ext>
            </a:extLst>
          </p:cNvPr>
          <p:cNvSpPr/>
          <p:nvPr userDrawn="1"/>
        </p:nvSpPr>
        <p:spPr>
          <a:xfrm>
            <a:off x="1763940" y="449660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51" name="Graphic 1">
            <a:extLst>
              <a:ext uri="{FF2B5EF4-FFF2-40B4-BE49-F238E27FC236}">
                <a16:creationId xmlns="" xmlns:a16="http://schemas.microsoft.com/office/drawing/2014/main" id="{05499356-B769-4009-900C-44722D6E5039}"/>
              </a:ext>
            </a:extLst>
          </p:cNvPr>
          <p:cNvSpPr/>
          <p:nvPr userDrawn="1"/>
        </p:nvSpPr>
        <p:spPr>
          <a:xfrm>
            <a:off x="1117044" y="0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52" name="Graphic 1">
            <a:extLst>
              <a:ext uri="{FF2B5EF4-FFF2-40B4-BE49-F238E27FC236}">
                <a16:creationId xmlns="" xmlns:a16="http://schemas.microsoft.com/office/drawing/2014/main" id="{5A8BED98-3D99-449E-8C3E-EE16F1B6D207}"/>
              </a:ext>
            </a:extLst>
          </p:cNvPr>
          <p:cNvSpPr/>
          <p:nvPr userDrawn="1"/>
        </p:nvSpPr>
        <p:spPr>
          <a:xfrm>
            <a:off x="1763940" y="0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457F297D-4A85-4716-AA06-0A79157FF9B9}"/>
              </a:ext>
            </a:extLst>
          </p:cNvPr>
          <p:cNvSpPr>
            <a:spLocks/>
          </p:cNvSpPr>
          <p:nvPr userDrawn="1"/>
        </p:nvSpPr>
        <p:spPr>
          <a:xfrm>
            <a:off x="1043940" y="2532796"/>
            <a:ext cx="1440000" cy="205987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8F561599-B680-4576-98E5-285D18786EC6}"/>
              </a:ext>
            </a:extLst>
          </p:cNvPr>
          <p:cNvSpPr>
            <a:spLocks/>
          </p:cNvSpPr>
          <p:nvPr userDrawn="1"/>
        </p:nvSpPr>
        <p:spPr>
          <a:xfrm>
            <a:off x="1043940" y="529477"/>
            <a:ext cx="1440000" cy="205987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DF005AC7-6DC5-42AD-8E68-A320BBF87316}"/>
              </a:ext>
            </a:extLst>
          </p:cNvPr>
          <p:cNvSpPr>
            <a:spLocks/>
          </p:cNvSpPr>
          <p:nvPr userDrawn="1"/>
        </p:nvSpPr>
        <p:spPr>
          <a:xfrm>
            <a:off x="1110332" y="594490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7AF18E3E-0A70-432C-9948-04775BE43EC4}"/>
              </a:ext>
            </a:extLst>
          </p:cNvPr>
          <p:cNvSpPr>
            <a:spLocks/>
          </p:cNvSpPr>
          <p:nvPr userDrawn="1"/>
        </p:nvSpPr>
        <p:spPr>
          <a:xfrm>
            <a:off x="1110332" y="2597809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2316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tangle 146">
            <a:extLst>
              <a:ext uri="{FF2B5EF4-FFF2-40B4-BE49-F238E27FC236}">
                <a16:creationId xmlns="" xmlns:a16="http://schemas.microsoft.com/office/drawing/2014/main" id="{E69D222A-CA58-44D3-AEA1-CD3A3108F6B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25691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solidFill>
                <a:schemeClr val="tx1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13603" y="371235"/>
            <a:ext cx="3775031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91135" y="371235"/>
            <a:ext cx="1581630" cy="1581630"/>
          </a:xfrm>
          <a:prstGeom prst="rect">
            <a:avLst/>
          </a:prstGeom>
          <a:effectLst>
            <a:outerShdw blurRad="88900" sx="102000" sy="102000" algn="ctr" rotWithShape="0">
              <a:prstClr val="black">
                <a:alpha val="13000"/>
              </a:prstClr>
            </a:outerShdw>
          </a:effectLst>
        </p:spPr>
      </p:pic>
      <p:sp>
        <p:nvSpPr>
          <p:cNvPr id="504" name="Freeform: Shape 503">
            <a:extLst>
              <a:ext uri="{FF2B5EF4-FFF2-40B4-BE49-F238E27FC236}">
                <a16:creationId xmlns="" xmlns:a16="http://schemas.microsoft.com/office/drawing/2014/main" id="{B11525CC-30F1-45C2-9E8E-820948F29274}"/>
              </a:ext>
            </a:extLst>
          </p:cNvPr>
          <p:cNvSpPr/>
          <p:nvPr/>
        </p:nvSpPr>
        <p:spPr>
          <a:xfrm>
            <a:off x="-6902" y="0"/>
            <a:ext cx="2618005" cy="5152751"/>
          </a:xfrm>
          <a:custGeom>
            <a:avLst/>
            <a:gdLst>
              <a:gd name="connsiteX0" fmla="*/ 2617414 w 2618004"/>
              <a:gd name="connsiteY0" fmla="*/ 2957939 h 5152750"/>
              <a:gd name="connsiteX1" fmla="*/ 2418704 w 2618004"/>
              <a:gd name="connsiteY1" fmla="*/ 2829259 h 5152750"/>
              <a:gd name="connsiteX2" fmla="*/ 2460426 w 2618004"/>
              <a:gd name="connsiteY2" fmla="*/ 2648681 h 5152750"/>
              <a:gd name="connsiteX3" fmla="*/ 2437946 w 2618004"/>
              <a:gd name="connsiteY3" fmla="*/ 2650531 h 5152750"/>
              <a:gd name="connsiteX4" fmla="*/ 2355706 w 2618004"/>
              <a:gd name="connsiteY4" fmla="*/ 2793735 h 5152750"/>
              <a:gd name="connsiteX5" fmla="*/ 2350803 w 2618004"/>
              <a:gd name="connsiteY5" fmla="*/ 2712882 h 5152750"/>
              <a:gd name="connsiteX6" fmla="*/ 2324345 w 2618004"/>
              <a:gd name="connsiteY6" fmla="*/ 2718895 h 5152750"/>
              <a:gd name="connsiteX7" fmla="*/ 2204731 w 2618004"/>
              <a:gd name="connsiteY7" fmla="*/ 2789480 h 5152750"/>
              <a:gd name="connsiteX8" fmla="*/ 2174295 w 2618004"/>
              <a:gd name="connsiteY8" fmla="*/ 2623056 h 5152750"/>
              <a:gd name="connsiteX9" fmla="*/ 2303160 w 2618004"/>
              <a:gd name="connsiteY9" fmla="*/ 2613805 h 5152750"/>
              <a:gd name="connsiteX10" fmla="*/ 2292059 w 2618004"/>
              <a:gd name="connsiteY10" fmla="*/ 2680597 h 5152750"/>
              <a:gd name="connsiteX11" fmla="*/ 2343957 w 2618004"/>
              <a:gd name="connsiteY11" fmla="*/ 2545349 h 5152750"/>
              <a:gd name="connsiteX12" fmla="*/ 2429990 w 2618004"/>
              <a:gd name="connsiteY12" fmla="*/ 2491416 h 5152750"/>
              <a:gd name="connsiteX13" fmla="*/ 2329155 w 2618004"/>
              <a:gd name="connsiteY13" fmla="*/ 2478835 h 5152750"/>
              <a:gd name="connsiteX14" fmla="*/ 2224990 w 2618004"/>
              <a:gd name="connsiteY14" fmla="*/ 2378185 h 5152750"/>
              <a:gd name="connsiteX15" fmla="*/ 2263289 w 2618004"/>
              <a:gd name="connsiteY15" fmla="*/ 2433968 h 5152750"/>
              <a:gd name="connsiteX16" fmla="*/ 2142657 w 2618004"/>
              <a:gd name="connsiteY16" fmla="*/ 2480037 h 5152750"/>
              <a:gd name="connsiteX17" fmla="*/ 2099918 w 2618004"/>
              <a:gd name="connsiteY17" fmla="*/ 2316296 h 5152750"/>
              <a:gd name="connsiteX18" fmla="*/ 2238219 w 2618004"/>
              <a:gd name="connsiteY18" fmla="*/ 2329618 h 5152750"/>
              <a:gd name="connsiteX19" fmla="*/ 2264769 w 2618004"/>
              <a:gd name="connsiteY19" fmla="*/ 2323882 h 5152750"/>
              <a:gd name="connsiteX20" fmla="*/ 2235074 w 2618004"/>
              <a:gd name="connsiteY20" fmla="*/ 2248487 h 5152750"/>
              <a:gd name="connsiteX21" fmla="*/ 2370137 w 2618004"/>
              <a:gd name="connsiteY21" fmla="*/ 2343587 h 5152750"/>
              <a:gd name="connsiteX22" fmla="*/ 2391322 w 2618004"/>
              <a:gd name="connsiteY22" fmla="*/ 2335816 h 5152750"/>
              <a:gd name="connsiteX23" fmla="*/ 2277165 w 2618004"/>
              <a:gd name="connsiteY23" fmla="*/ 2189744 h 5152750"/>
              <a:gd name="connsiteX24" fmla="*/ 2374855 w 2618004"/>
              <a:gd name="connsiteY24" fmla="*/ 2080028 h 5152750"/>
              <a:gd name="connsiteX25" fmla="*/ 2245527 w 2618004"/>
              <a:gd name="connsiteY25" fmla="*/ 2010277 h 5152750"/>
              <a:gd name="connsiteX26" fmla="*/ 2302790 w 2618004"/>
              <a:gd name="connsiteY26" fmla="*/ 1833954 h 5152750"/>
              <a:gd name="connsiteX27" fmla="*/ 2280218 w 2618004"/>
              <a:gd name="connsiteY27" fmla="*/ 1833862 h 5152750"/>
              <a:gd name="connsiteX28" fmla="*/ 2185767 w 2618004"/>
              <a:gd name="connsiteY28" fmla="*/ 1969388 h 5152750"/>
              <a:gd name="connsiteX29" fmla="*/ 2187894 w 2618004"/>
              <a:gd name="connsiteY29" fmla="*/ 1888442 h 5152750"/>
              <a:gd name="connsiteX30" fmla="*/ 2160974 w 2618004"/>
              <a:gd name="connsiteY30" fmla="*/ 1892143 h 5152750"/>
              <a:gd name="connsiteX31" fmla="*/ 2035624 w 2618004"/>
              <a:gd name="connsiteY31" fmla="*/ 1951996 h 5152750"/>
              <a:gd name="connsiteX32" fmla="*/ 2019805 w 2618004"/>
              <a:gd name="connsiteY32" fmla="*/ 1783537 h 5152750"/>
              <a:gd name="connsiteX33" fmla="*/ 2148948 w 2618004"/>
              <a:gd name="connsiteY33" fmla="*/ 1785572 h 5152750"/>
              <a:gd name="connsiteX34" fmla="*/ 2132019 w 2618004"/>
              <a:gd name="connsiteY34" fmla="*/ 1851161 h 5152750"/>
              <a:gd name="connsiteX35" fmla="*/ 2195572 w 2618004"/>
              <a:gd name="connsiteY35" fmla="*/ 1721001 h 5152750"/>
              <a:gd name="connsiteX36" fmla="*/ 2286046 w 2618004"/>
              <a:gd name="connsiteY36" fmla="*/ 1674746 h 5152750"/>
              <a:gd name="connsiteX37" fmla="*/ 2186692 w 2618004"/>
              <a:gd name="connsiteY37" fmla="*/ 1653469 h 5152750"/>
              <a:gd name="connsiteX38" fmla="*/ 2091685 w 2618004"/>
              <a:gd name="connsiteY38" fmla="*/ 1544124 h 5152750"/>
              <a:gd name="connsiteX39" fmla="*/ 2124988 w 2618004"/>
              <a:gd name="connsiteY39" fmla="*/ 1603052 h 5152750"/>
              <a:gd name="connsiteX40" fmla="*/ 2000748 w 2618004"/>
              <a:gd name="connsiteY40" fmla="*/ 1638483 h 5152750"/>
              <a:gd name="connsiteX41" fmla="*/ 1972441 w 2618004"/>
              <a:gd name="connsiteY41" fmla="*/ 1471689 h 5152750"/>
              <a:gd name="connsiteX42" fmla="*/ 2108984 w 2618004"/>
              <a:gd name="connsiteY42" fmla="*/ 1497037 h 5152750"/>
              <a:gd name="connsiteX43" fmla="*/ 2135904 w 2618004"/>
              <a:gd name="connsiteY43" fmla="*/ 1493706 h 5152750"/>
              <a:gd name="connsiteX44" fmla="*/ 2112869 w 2618004"/>
              <a:gd name="connsiteY44" fmla="*/ 1415999 h 5152750"/>
              <a:gd name="connsiteX45" fmla="*/ 2239144 w 2618004"/>
              <a:gd name="connsiteY45" fmla="*/ 1522477 h 5152750"/>
              <a:gd name="connsiteX46" fmla="*/ 2260976 w 2618004"/>
              <a:gd name="connsiteY46" fmla="*/ 1516556 h 5152750"/>
              <a:gd name="connsiteX47" fmla="*/ 2159957 w 2618004"/>
              <a:gd name="connsiteY47" fmla="*/ 1361141 h 5152750"/>
              <a:gd name="connsiteX48" fmla="*/ 2302698 w 2618004"/>
              <a:gd name="connsiteY48" fmla="*/ 1172238 h 5152750"/>
              <a:gd name="connsiteX49" fmla="*/ 2067817 w 2618004"/>
              <a:gd name="connsiteY49" fmla="*/ 1201378 h 5152750"/>
              <a:gd name="connsiteX50" fmla="*/ 1983634 w 2618004"/>
              <a:gd name="connsiteY50" fmla="*/ 1036157 h 5152750"/>
              <a:gd name="connsiteX51" fmla="*/ 1967630 w 2618004"/>
              <a:gd name="connsiteY51" fmla="*/ 1052068 h 5152750"/>
              <a:gd name="connsiteX52" fmla="*/ 1996678 w 2618004"/>
              <a:gd name="connsiteY52" fmla="*/ 1214699 h 5152750"/>
              <a:gd name="connsiteX53" fmla="*/ 1940895 w 2618004"/>
              <a:gd name="connsiteY53" fmla="*/ 1155956 h 5152750"/>
              <a:gd name="connsiteX54" fmla="*/ 1924521 w 2618004"/>
              <a:gd name="connsiteY54" fmla="*/ 1177603 h 5152750"/>
              <a:gd name="connsiteX55" fmla="*/ 1878174 w 2618004"/>
              <a:gd name="connsiteY55" fmla="*/ 1308503 h 5152750"/>
              <a:gd name="connsiteX56" fmla="*/ 1747829 w 2618004"/>
              <a:gd name="connsiteY56" fmla="*/ 1200545 h 5152750"/>
              <a:gd name="connsiteX57" fmla="*/ 1840615 w 2618004"/>
              <a:gd name="connsiteY57" fmla="*/ 1110627 h 5152750"/>
              <a:gd name="connsiteX58" fmla="*/ 1875029 w 2618004"/>
              <a:gd name="connsiteY58" fmla="*/ 1168907 h 5152750"/>
              <a:gd name="connsiteX59" fmla="*/ 1827849 w 2618004"/>
              <a:gd name="connsiteY59" fmla="*/ 1031901 h 5152750"/>
              <a:gd name="connsiteX60" fmla="*/ 1859117 w 2618004"/>
              <a:gd name="connsiteY60" fmla="*/ 935230 h 5152750"/>
              <a:gd name="connsiteX61" fmla="*/ 1773824 w 2618004"/>
              <a:gd name="connsiteY61" fmla="*/ 990457 h 5152750"/>
              <a:gd name="connsiteX62" fmla="*/ 1629325 w 2618004"/>
              <a:gd name="connsiteY62" fmla="*/ 980374 h 5152750"/>
              <a:gd name="connsiteX63" fmla="*/ 1694544 w 2618004"/>
              <a:gd name="connsiteY63" fmla="*/ 998506 h 5152750"/>
              <a:gd name="connsiteX64" fmla="*/ 1631730 w 2618004"/>
              <a:gd name="connsiteY64" fmla="*/ 1111367 h 5152750"/>
              <a:gd name="connsiteX65" fmla="*/ 1493707 w 2618004"/>
              <a:gd name="connsiteY65" fmla="*/ 1013400 h 5152750"/>
              <a:gd name="connsiteX66" fmla="*/ 1608233 w 2618004"/>
              <a:gd name="connsiteY66" fmla="*/ 934767 h 5152750"/>
              <a:gd name="connsiteX67" fmla="*/ 1624884 w 2618004"/>
              <a:gd name="connsiteY67" fmla="*/ 913305 h 5152750"/>
              <a:gd name="connsiteX68" fmla="*/ 1553652 w 2618004"/>
              <a:gd name="connsiteY68" fmla="*/ 874636 h 5152750"/>
              <a:gd name="connsiteX69" fmla="*/ 1718226 w 2618004"/>
              <a:gd name="connsiteY69" fmla="*/ 860667 h 5152750"/>
              <a:gd name="connsiteX70" fmla="*/ 1729420 w 2618004"/>
              <a:gd name="connsiteY70" fmla="*/ 841055 h 5152750"/>
              <a:gd name="connsiteX71" fmla="*/ 1548102 w 2618004"/>
              <a:gd name="connsiteY71" fmla="*/ 802572 h 5152750"/>
              <a:gd name="connsiteX72" fmla="*/ 1552450 w 2618004"/>
              <a:gd name="connsiteY72" fmla="*/ 655667 h 5152750"/>
              <a:gd name="connsiteX73" fmla="*/ 1408506 w 2618004"/>
              <a:gd name="connsiteY73" fmla="*/ 685455 h 5152750"/>
              <a:gd name="connsiteX74" fmla="*/ 1339124 w 2618004"/>
              <a:gd name="connsiteY74" fmla="*/ 513574 h 5152750"/>
              <a:gd name="connsiteX75" fmla="*/ 1321732 w 2618004"/>
              <a:gd name="connsiteY75" fmla="*/ 528005 h 5152750"/>
              <a:gd name="connsiteX76" fmla="*/ 1336534 w 2618004"/>
              <a:gd name="connsiteY76" fmla="*/ 692486 h 5152750"/>
              <a:gd name="connsiteX77" fmla="*/ 1286116 w 2618004"/>
              <a:gd name="connsiteY77" fmla="*/ 629117 h 5152750"/>
              <a:gd name="connsiteX78" fmla="*/ 1267892 w 2618004"/>
              <a:gd name="connsiteY78" fmla="*/ 649192 h 5152750"/>
              <a:gd name="connsiteX79" fmla="*/ 1210351 w 2618004"/>
              <a:gd name="connsiteY79" fmla="*/ 775652 h 5152750"/>
              <a:gd name="connsiteX80" fmla="*/ 1089905 w 2618004"/>
              <a:gd name="connsiteY80" fmla="*/ 656777 h 5152750"/>
              <a:gd name="connsiteX81" fmla="*/ 1190092 w 2618004"/>
              <a:gd name="connsiteY81" fmla="*/ 575370 h 5152750"/>
              <a:gd name="connsiteX82" fmla="*/ 1219325 w 2618004"/>
              <a:gd name="connsiteY82" fmla="*/ 636425 h 5152750"/>
              <a:gd name="connsiteX83" fmla="*/ 1184264 w 2618004"/>
              <a:gd name="connsiteY83" fmla="*/ 495904 h 5152750"/>
              <a:gd name="connsiteX84" fmla="*/ 1223858 w 2618004"/>
              <a:gd name="connsiteY84" fmla="*/ 402285 h 5152750"/>
              <a:gd name="connsiteX85" fmla="*/ 1134032 w 2618004"/>
              <a:gd name="connsiteY85" fmla="*/ 449835 h 5152750"/>
              <a:gd name="connsiteX86" fmla="*/ 990920 w 2618004"/>
              <a:gd name="connsiteY86" fmla="*/ 427170 h 5152750"/>
              <a:gd name="connsiteX87" fmla="*/ 1054289 w 2618004"/>
              <a:gd name="connsiteY87" fmla="*/ 450945 h 5152750"/>
              <a:gd name="connsiteX88" fmla="*/ 981854 w 2618004"/>
              <a:gd name="connsiteY88" fmla="*/ 557885 h 5152750"/>
              <a:gd name="connsiteX89" fmla="*/ 852989 w 2618004"/>
              <a:gd name="connsiteY89" fmla="*/ 448447 h 5152750"/>
              <a:gd name="connsiteX90" fmla="*/ 973898 w 2618004"/>
              <a:gd name="connsiteY90" fmla="*/ 380083 h 5152750"/>
              <a:gd name="connsiteX91" fmla="*/ 992400 w 2618004"/>
              <a:gd name="connsiteY91" fmla="*/ 360194 h 5152750"/>
              <a:gd name="connsiteX92" fmla="*/ 924869 w 2618004"/>
              <a:gd name="connsiteY92" fmla="*/ 315512 h 5152750"/>
              <a:gd name="connsiteX93" fmla="*/ 1089997 w 2618004"/>
              <a:gd name="connsiteY93" fmla="*/ 315882 h 5152750"/>
              <a:gd name="connsiteX94" fmla="*/ 1102856 w 2618004"/>
              <a:gd name="connsiteY94" fmla="*/ 297288 h 5152750"/>
              <a:gd name="connsiteX95" fmla="*/ 925609 w 2618004"/>
              <a:gd name="connsiteY95" fmla="*/ 243077 h 5152750"/>
              <a:gd name="connsiteX96" fmla="*/ 913490 w 2618004"/>
              <a:gd name="connsiteY96" fmla="*/ 6717 h 5152750"/>
              <a:gd name="connsiteX97" fmla="*/ 752339 w 2618004"/>
              <a:gd name="connsiteY97" fmla="*/ 180079 h 5152750"/>
              <a:gd name="connsiteX98" fmla="*/ 581753 w 2618004"/>
              <a:gd name="connsiteY98" fmla="*/ 107644 h 5152750"/>
              <a:gd name="connsiteX99" fmla="*/ 579718 w 2618004"/>
              <a:gd name="connsiteY99" fmla="*/ 130124 h 5152750"/>
              <a:gd name="connsiteX100" fmla="*/ 706455 w 2618004"/>
              <a:gd name="connsiteY100" fmla="*/ 235954 h 5152750"/>
              <a:gd name="connsiteX101" fmla="*/ 625972 w 2618004"/>
              <a:gd name="connsiteY101" fmla="*/ 226796 h 5152750"/>
              <a:gd name="connsiteX102" fmla="*/ 627360 w 2618004"/>
              <a:gd name="connsiteY102" fmla="*/ 253901 h 5152750"/>
              <a:gd name="connsiteX103" fmla="*/ 676019 w 2618004"/>
              <a:gd name="connsiteY103" fmla="*/ 383968 h 5152750"/>
              <a:gd name="connsiteX104" fmla="*/ 506820 w 2618004"/>
              <a:gd name="connsiteY104" fmla="*/ 385079 h 5152750"/>
              <a:gd name="connsiteX105" fmla="*/ 520142 w 2618004"/>
              <a:gd name="connsiteY105" fmla="*/ 256584 h 5152750"/>
              <a:gd name="connsiteX106" fmla="*/ 583973 w 2618004"/>
              <a:gd name="connsiteY106" fmla="*/ 279156 h 5152750"/>
              <a:gd name="connsiteX107" fmla="*/ 459826 w 2618004"/>
              <a:gd name="connsiteY107" fmla="*/ 204501 h 5152750"/>
              <a:gd name="connsiteX108" fmla="*/ 421620 w 2618004"/>
              <a:gd name="connsiteY108" fmla="*/ 110327 h 5152750"/>
              <a:gd name="connsiteX109" fmla="*/ 391739 w 2618004"/>
              <a:gd name="connsiteY109" fmla="*/ 207461 h 5152750"/>
              <a:gd name="connsiteX110" fmla="*/ 274530 w 2618004"/>
              <a:gd name="connsiteY110" fmla="*/ 292662 h 5152750"/>
              <a:gd name="connsiteX111" fmla="*/ 336141 w 2618004"/>
              <a:gd name="connsiteY111" fmla="*/ 264632 h 5152750"/>
              <a:gd name="connsiteX112" fmla="*/ 360564 w 2618004"/>
              <a:gd name="connsiteY112" fmla="*/ 391462 h 5152750"/>
              <a:gd name="connsiteX113" fmla="*/ 191920 w 2618004"/>
              <a:gd name="connsiteY113" fmla="*/ 405153 h 5152750"/>
              <a:gd name="connsiteX114" fmla="*/ 229108 w 2618004"/>
              <a:gd name="connsiteY114" fmla="*/ 271292 h 5152750"/>
              <a:gd name="connsiteX115" fmla="*/ 228091 w 2618004"/>
              <a:gd name="connsiteY115" fmla="*/ 244187 h 5152750"/>
              <a:gd name="connsiteX116" fmla="*/ 148718 w 2618004"/>
              <a:gd name="connsiteY116" fmla="*/ 260376 h 5152750"/>
              <a:gd name="connsiteX117" fmla="*/ 265742 w 2618004"/>
              <a:gd name="connsiteY117" fmla="*/ 143815 h 5152750"/>
              <a:gd name="connsiteX118" fmla="*/ 261764 w 2618004"/>
              <a:gd name="connsiteY118" fmla="*/ 121613 h 5152750"/>
              <a:gd name="connsiteX119" fmla="*/ 98116 w 2618004"/>
              <a:gd name="connsiteY119" fmla="*/ 208664 h 5152750"/>
              <a:gd name="connsiteX120" fmla="*/ 6902 w 2618004"/>
              <a:gd name="connsiteY120" fmla="*/ 93305 h 5152750"/>
              <a:gd name="connsiteX121" fmla="*/ 6902 w 2618004"/>
              <a:gd name="connsiteY121" fmla="*/ 155009 h 5152750"/>
              <a:gd name="connsiteX122" fmla="*/ 23091 w 2618004"/>
              <a:gd name="connsiteY122" fmla="*/ 174528 h 5152750"/>
              <a:gd name="connsiteX123" fmla="*/ 37892 w 2618004"/>
              <a:gd name="connsiteY123" fmla="*/ 196268 h 5152750"/>
              <a:gd name="connsiteX124" fmla="*/ 76284 w 2618004"/>
              <a:gd name="connsiteY124" fmla="*/ 380453 h 5152750"/>
              <a:gd name="connsiteX125" fmla="*/ 76284 w 2618004"/>
              <a:gd name="connsiteY125" fmla="*/ 380453 h 5152750"/>
              <a:gd name="connsiteX126" fmla="*/ 76284 w 2618004"/>
              <a:gd name="connsiteY126" fmla="*/ 380453 h 5152750"/>
              <a:gd name="connsiteX127" fmla="*/ 25219 w 2618004"/>
              <a:gd name="connsiteY127" fmla="*/ 337251 h 5152750"/>
              <a:gd name="connsiteX128" fmla="*/ 17725 w 2618004"/>
              <a:gd name="connsiteY128" fmla="*/ 329388 h 5152750"/>
              <a:gd name="connsiteX129" fmla="*/ 6809 w 2618004"/>
              <a:gd name="connsiteY129" fmla="*/ 316899 h 5152750"/>
              <a:gd name="connsiteX130" fmla="*/ 6809 w 2618004"/>
              <a:gd name="connsiteY130" fmla="*/ 400528 h 5152750"/>
              <a:gd name="connsiteX131" fmla="*/ 20963 w 2618004"/>
              <a:gd name="connsiteY131" fmla="*/ 484896 h 5152750"/>
              <a:gd name="connsiteX132" fmla="*/ 6809 w 2618004"/>
              <a:gd name="connsiteY132" fmla="*/ 515054 h 5152750"/>
              <a:gd name="connsiteX133" fmla="*/ 6809 w 2618004"/>
              <a:gd name="connsiteY133" fmla="*/ 635870 h 5152750"/>
              <a:gd name="connsiteX134" fmla="*/ 111807 w 2618004"/>
              <a:gd name="connsiteY134" fmla="*/ 602382 h 5152750"/>
              <a:gd name="connsiteX135" fmla="*/ 121705 w 2618004"/>
              <a:gd name="connsiteY135" fmla="*/ 575277 h 5152750"/>
              <a:gd name="connsiteX136" fmla="*/ 61482 w 2618004"/>
              <a:gd name="connsiteY136" fmla="*/ 560383 h 5152750"/>
              <a:gd name="connsiteX137" fmla="*/ 88217 w 2618004"/>
              <a:gd name="connsiteY137" fmla="*/ 473702 h 5152750"/>
              <a:gd name="connsiteX138" fmla="*/ 104591 w 2618004"/>
              <a:gd name="connsiteY138" fmla="*/ 493592 h 5152750"/>
              <a:gd name="connsiteX139" fmla="*/ 145388 w 2618004"/>
              <a:gd name="connsiteY139" fmla="*/ 528745 h 5152750"/>
              <a:gd name="connsiteX140" fmla="*/ 142705 w 2618004"/>
              <a:gd name="connsiteY140" fmla="*/ 462694 h 5152750"/>
              <a:gd name="connsiteX141" fmla="*/ 140022 w 2618004"/>
              <a:gd name="connsiteY141" fmla="*/ 449557 h 5152750"/>
              <a:gd name="connsiteX142" fmla="*/ 223650 w 2618004"/>
              <a:gd name="connsiteY142" fmla="*/ 484803 h 5152750"/>
              <a:gd name="connsiteX143" fmla="*/ 196360 w 2618004"/>
              <a:gd name="connsiteY143" fmla="*/ 540586 h 5152750"/>
              <a:gd name="connsiteX144" fmla="*/ 223465 w 2618004"/>
              <a:gd name="connsiteY144" fmla="*/ 550485 h 5152750"/>
              <a:gd name="connsiteX145" fmla="*/ 359916 w 2618004"/>
              <a:gd name="connsiteY145" fmla="*/ 495442 h 5152750"/>
              <a:gd name="connsiteX146" fmla="*/ 416069 w 2618004"/>
              <a:gd name="connsiteY146" fmla="*/ 609505 h 5152750"/>
              <a:gd name="connsiteX147" fmla="*/ 355476 w 2618004"/>
              <a:gd name="connsiteY147" fmla="*/ 613946 h 5152750"/>
              <a:gd name="connsiteX148" fmla="*/ 361396 w 2618004"/>
              <a:gd name="connsiteY148" fmla="*/ 548912 h 5152750"/>
              <a:gd name="connsiteX149" fmla="*/ 248073 w 2618004"/>
              <a:gd name="connsiteY149" fmla="*/ 592206 h 5152750"/>
              <a:gd name="connsiteX150" fmla="*/ 405061 w 2618004"/>
              <a:gd name="connsiteY150" fmla="*/ 710155 h 5152750"/>
              <a:gd name="connsiteX151" fmla="*/ 410519 w 2618004"/>
              <a:gd name="connsiteY151" fmla="*/ 752154 h 5152750"/>
              <a:gd name="connsiteX152" fmla="*/ 452888 w 2618004"/>
              <a:gd name="connsiteY152" fmla="*/ 829769 h 5152750"/>
              <a:gd name="connsiteX153" fmla="*/ 486653 w 2618004"/>
              <a:gd name="connsiteY153" fmla="*/ 756872 h 5152750"/>
              <a:gd name="connsiteX154" fmla="*/ 490169 w 2618004"/>
              <a:gd name="connsiteY154" fmla="*/ 706362 h 5152750"/>
              <a:gd name="connsiteX155" fmla="*/ 636241 w 2618004"/>
              <a:gd name="connsiteY155" fmla="*/ 575277 h 5152750"/>
              <a:gd name="connsiteX156" fmla="*/ 519587 w 2618004"/>
              <a:gd name="connsiteY156" fmla="*/ 542066 h 5152750"/>
              <a:gd name="connsiteX157" fmla="*/ 531150 w 2618004"/>
              <a:gd name="connsiteY157" fmla="*/ 606360 h 5152750"/>
              <a:gd name="connsiteX158" fmla="*/ 470372 w 2618004"/>
              <a:gd name="connsiteY158" fmla="*/ 607193 h 5152750"/>
              <a:gd name="connsiteX159" fmla="*/ 516349 w 2618004"/>
              <a:gd name="connsiteY159" fmla="*/ 488689 h 5152750"/>
              <a:gd name="connsiteX160" fmla="*/ 657055 w 2618004"/>
              <a:gd name="connsiteY160" fmla="*/ 531705 h 5152750"/>
              <a:gd name="connsiteX161" fmla="*/ 683143 w 2618004"/>
              <a:gd name="connsiteY161" fmla="*/ 519494 h 5152750"/>
              <a:gd name="connsiteX162" fmla="*/ 651135 w 2618004"/>
              <a:gd name="connsiteY162" fmla="*/ 466301 h 5152750"/>
              <a:gd name="connsiteX163" fmla="*/ 731432 w 2618004"/>
              <a:gd name="connsiteY163" fmla="*/ 423932 h 5152750"/>
              <a:gd name="connsiteX164" fmla="*/ 732913 w 2618004"/>
              <a:gd name="connsiteY164" fmla="*/ 503213 h 5152750"/>
              <a:gd name="connsiteX165" fmla="*/ 785088 w 2618004"/>
              <a:gd name="connsiteY165" fmla="*/ 443452 h 5152750"/>
              <a:gd name="connsiteX166" fmla="*/ 819316 w 2618004"/>
              <a:gd name="connsiteY166" fmla="*/ 527542 h 5152750"/>
              <a:gd name="connsiteX167" fmla="*/ 760573 w 2618004"/>
              <a:gd name="connsiteY167" fmla="*/ 547709 h 5152750"/>
              <a:gd name="connsiteX168" fmla="*/ 772784 w 2618004"/>
              <a:gd name="connsiteY168" fmla="*/ 573797 h 5152750"/>
              <a:gd name="connsiteX169" fmla="*/ 908217 w 2618004"/>
              <a:gd name="connsiteY169" fmla="*/ 631337 h 5152750"/>
              <a:gd name="connsiteX170" fmla="*/ 867236 w 2618004"/>
              <a:gd name="connsiteY170" fmla="*/ 751692 h 5152750"/>
              <a:gd name="connsiteX171" fmla="*/ 821166 w 2618004"/>
              <a:gd name="connsiteY171" fmla="*/ 712005 h 5152750"/>
              <a:gd name="connsiteX172" fmla="*/ 871398 w 2618004"/>
              <a:gd name="connsiteY172" fmla="*/ 670191 h 5152750"/>
              <a:gd name="connsiteX173" fmla="*/ 760665 w 2618004"/>
              <a:gd name="connsiteY173" fmla="*/ 620699 h 5152750"/>
              <a:gd name="connsiteX174" fmla="*/ 788325 w 2618004"/>
              <a:gd name="connsiteY174" fmla="*/ 814598 h 5152750"/>
              <a:gd name="connsiteX175" fmla="*/ 758537 w 2618004"/>
              <a:gd name="connsiteY175" fmla="*/ 855487 h 5152750"/>
              <a:gd name="connsiteX176" fmla="*/ 737538 w 2618004"/>
              <a:gd name="connsiteY176" fmla="*/ 933009 h 5152750"/>
              <a:gd name="connsiteX177" fmla="*/ 826717 w 2618004"/>
              <a:gd name="connsiteY177" fmla="*/ 895821 h 5152750"/>
              <a:gd name="connsiteX178" fmla="*/ 851046 w 2618004"/>
              <a:gd name="connsiteY178" fmla="*/ 872138 h 5152750"/>
              <a:gd name="connsiteX179" fmla="*/ 1047073 w 2618004"/>
              <a:gd name="connsiteY179" fmla="*/ 882684 h 5152750"/>
              <a:gd name="connsiteX180" fmla="*/ 988052 w 2618004"/>
              <a:gd name="connsiteY180" fmla="*/ 776669 h 5152750"/>
              <a:gd name="connsiteX181" fmla="*/ 950771 w 2618004"/>
              <a:gd name="connsiteY181" fmla="*/ 830324 h 5152750"/>
              <a:gd name="connsiteX182" fmla="*/ 907199 w 2618004"/>
              <a:gd name="connsiteY182" fmla="*/ 787955 h 5152750"/>
              <a:gd name="connsiteX183" fmla="*/ 1023576 w 2618004"/>
              <a:gd name="connsiteY183" fmla="*/ 736613 h 5152750"/>
              <a:gd name="connsiteX184" fmla="*/ 1092680 w 2618004"/>
              <a:gd name="connsiteY184" fmla="*/ 866495 h 5152750"/>
              <a:gd name="connsiteX185" fmla="*/ 1119785 w 2618004"/>
              <a:gd name="connsiteY185" fmla="*/ 876394 h 5152750"/>
              <a:gd name="connsiteX186" fmla="*/ 1134679 w 2618004"/>
              <a:gd name="connsiteY186" fmla="*/ 816170 h 5152750"/>
              <a:gd name="connsiteX187" fmla="*/ 1221360 w 2618004"/>
              <a:gd name="connsiteY187" fmla="*/ 842906 h 5152750"/>
              <a:gd name="connsiteX188" fmla="*/ 1201471 w 2618004"/>
              <a:gd name="connsiteY188" fmla="*/ 859280 h 5152750"/>
              <a:gd name="connsiteX189" fmla="*/ 1166317 w 2618004"/>
              <a:gd name="connsiteY189" fmla="*/ 900076 h 5152750"/>
              <a:gd name="connsiteX190" fmla="*/ 1220157 w 2618004"/>
              <a:gd name="connsiteY190" fmla="*/ 899429 h 5152750"/>
              <a:gd name="connsiteX191" fmla="*/ 1245412 w 2618004"/>
              <a:gd name="connsiteY191" fmla="*/ 894711 h 5152750"/>
              <a:gd name="connsiteX192" fmla="*/ 1210167 w 2618004"/>
              <a:gd name="connsiteY192" fmla="*/ 978339 h 5152750"/>
              <a:gd name="connsiteX193" fmla="*/ 1154476 w 2618004"/>
              <a:gd name="connsiteY193" fmla="*/ 951049 h 5152750"/>
              <a:gd name="connsiteX194" fmla="*/ 1144578 w 2618004"/>
              <a:gd name="connsiteY194" fmla="*/ 978154 h 5152750"/>
              <a:gd name="connsiteX195" fmla="*/ 1203506 w 2618004"/>
              <a:gd name="connsiteY195" fmla="*/ 1071310 h 5152750"/>
              <a:gd name="connsiteX196" fmla="*/ 1305451 w 2618004"/>
              <a:gd name="connsiteY196" fmla="*/ 1113124 h 5152750"/>
              <a:gd name="connsiteX197" fmla="*/ 1330428 w 2618004"/>
              <a:gd name="connsiteY197" fmla="*/ 1098693 h 5152750"/>
              <a:gd name="connsiteX198" fmla="*/ 1293887 w 2618004"/>
              <a:gd name="connsiteY198" fmla="*/ 1048553 h 5152750"/>
              <a:gd name="connsiteX199" fmla="*/ 1370115 w 2618004"/>
              <a:gd name="connsiteY199" fmla="*/ 999338 h 5152750"/>
              <a:gd name="connsiteX200" fmla="*/ 1369745 w 2618004"/>
              <a:gd name="connsiteY200" fmla="*/ 1012752 h 5152750"/>
              <a:gd name="connsiteX201" fmla="*/ 1378533 w 2618004"/>
              <a:gd name="connsiteY201" fmla="*/ 1078248 h 5152750"/>
              <a:gd name="connsiteX202" fmla="*/ 1418867 w 2618004"/>
              <a:gd name="connsiteY202" fmla="*/ 1025981 h 5152750"/>
              <a:gd name="connsiteX203" fmla="*/ 1425250 w 2618004"/>
              <a:gd name="connsiteY203" fmla="*/ 1014140 h 5152750"/>
              <a:gd name="connsiteX204" fmla="*/ 1466694 w 2618004"/>
              <a:gd name="connsiteY204" fmla="*/ 1094900 h 5152750"/>
              <a:gd name="connsiteX205" fmla="*/ 1409986 w 2618004"/>
              <a:gd name="connsiteY205" fmla="*/ 1120063 h 5152750"/>
              <a:gd name="connsiteX206" fmla="*/ 1424417 w 2618004"/>
              <a:gd name="connsiteY206" fmla="*/ 1145040 h 5152750"/>
              <a:gd name="connsiteX207" fmla="*/ 1564291 w 2618004"/>
              <a:gd name="connsiteY207" fmla="*/ 1190554 h 5152750"/>
              <a:gd name="connsiteX208" fmla="*/ 1533948 w 2618004"/>
              <a:gd name="connsiteY208" fmla="*/ 1314054 h 5152750"/>
              <a:gd name="connsiteX209" fmla="*/ 1484641 w 2618004"/>
              <a:gd name="connsiteY209" fmla="*/ 1278530 h 5152750"/>
              <a:gd name="connsiteX210" fmla="*/ 1530988 w 2618004"/>
              <a:gd name="connsiteY210" fmla="*/ 1232461 h 5152750"/>
              <a:gd name="connsiteX211" fmla="*/ 1416369 w 2618004"/>
              <a:gd name="connsiteY211" fmla="*/ 1192775 h 5152750"/>
              <a:gd name="connsiteX212" fmla="*/ 1460866 w 2618004"/>
              <a:gd name="connsiteY212" fmla="*/ 1383991 h 5152750"/>
              <a:gd name="connsiteX213" fmla="*/ 1434778 w 2618004"/>
              <a:gd name="connsiteY213" fmla="*/ 1427377 h 5152750"/>
              <a:gd name="connsiteX214" fmla="*/ 1420625 w 2618004"/>
              <a:gd name="connsiteY214" fmla="*/ 1506380 h 5152750"/>
              <a:gd name="connsiteX215" fmla="*/ 1493336 w 2618004"/>
              <a:gd name="connsiteY215" fmla="*/ 1472244 h 5152750"/>
              <a:gd name="connsiteX216" fmla="*/ 1518037 w 2618004"/>
              <a:gd name="connsiteY216" fmla="*/ 1449487 h 5152750"/>
              <a:gd name="connsiteX217" fmla="*/ 1528397 w 2618004"/>
              <a:gd name="connsiteY217" fmla="*/ 1435796 h 5152750"/>
              <a:gd name="connsiteX218" fmla="*/ 1724609 w 2618004"/>
              <a:gd name="connsiteY218" fmla="*/ 1429228 h 5152750"/>
              <a:gd name="connsiteX219" fmla="*/ 1656615 w 2618004"/>
              <a:gd name="connsiteY219" fmla="*/ 1328763 h 5152750"/>
              <a:gd name="connsiteX220" fmla="*/ 1624144 w 2618004"/>
              <a:gd name="connsiteY220" fmla="*/ 1385471 h 5152750"/>
              <a:gd name="connsiteX221" fmla="*/ 1577057 w 2618004"/>
              <a:gd name="connsiteY221" fmla="*/ 1346987 h 5152750"/>
              <a:gd name="connsiteX222" fmla="*/ 1688531 w 2618004"/>
              <a:gd name="connsiteY222" fmla="*/ 1285746 h 5152750"/>
              <a:gd name="connsiteX223" fmla="*/ 1768643 w 2618004"/>
              <a:gd name="connsiteY223" fmla="*/ 1409061 h 5152750"/>
              <a:gd name="connsiteX224" fmla="*/ 1796489 w 2618004"/>
              <a:gd name="connsiteY224" fmla="*/ 1416554 h 5152750"/>
              <a:gd name="connsiteX225" fmla="*/ 1806110 w 2618004"/>
              <a:gd name="connsiteY225" fmla="*/ 1355220 h 5152750"/>
              <a:gd name="connsiteX226" fmla="*/ 1894826 w 2618004"/>
              <a:gd name="connsiteY226" fmla="*/ 1374370 h 5152750"/>
              <a:gd name="connsiteX227" fmla="*/ 1844963 w 2618004"/>
              <a:gd name="connsiteY227" fmla="*/ 1436073 h 5152750"/>
              <a:gd name="connsiteX228" fmla="*/ 1923318 w 2618004"/>
              <a:gd name="connsiteY228" fmla="*/ 1423769 h 5152750"/>
              <a:gd name="connsiteX229" fmla="*/ 1895566 w 2618004"/>
              <a:gd name="connsiteY229" fmla="*/ 1510173 h 5152750"/>
              <a:gd name="connsiteX230" fmla="*/ 1837655 w 2618004"/>
              <a:gd name="connsiteY230" fmla="*/ 1487878 h 5152750"/>
              <a:gd name="connsiteX231" fmla="*/ 1830162 w 2618004"/>
              <a:gd name="connsiteY231" fmla="*/ 1515723 h 5152750"/>
              <a:gd name="connsiteX232" fmla="*/ 1896953 w 2618004"/>
              <a:gd name="connsiteY232" fmla="*/ 1646809 h 5152750"/>
              <a:gd name="connsiteX233" fmla="*/ 1788163 w 2618004"/>
              <a:gd name="connsiteY233" fmla="*/ 1712675 h 5152750"/>
              <a:gd name="connsiteX234" fmla="*/ 1778449 w 2618004"/>
              <a:gd name="connsiteY234" fmla="*/ 1652729 h 5152750"/>
              <a:gd name="connsiteX235" fmla="*/ 1843761 w 2618004"/>
              <a:gd name="connsiteY235" fmla="*/ 1653007 h 5152750"/>
              <a:gd name="connsiteX236" fmla="*/ 1790753 w 2618004"/>
              <a:gd name="connsiteY236" fmla="*/ 1543939 h 5152750"/>
              <a:gd name="connsiteX237" fmla="*/ 1686958 w 2618004"/>
              <a:gd name="connsiteY237" fmla="*/ 1710547 h 5152750"/>
              <a:gd name="connsiteX238" fmla="*/ 1637836 w 2618004"/>
              <a:gd name="connsiteY238" fmla="*/ 1722759 h 5152750"/>
              <a:gd name="connsiteX239" fmla="*/ 1571969 w 2618004"/>
              <a:gd name="connsiteY239" fmla="*/ 1768643 h 5152750"/>
              <a:gd name="connsiteX240" fmla="*/ 1647457 w 2618004"/>
              <a:gd name="connsiteY240" fmla="*/ 1795933 h 5152750"/>
              <a:gd name="connsiteX241" fmla="*/ 1698059 w 2618004"/>
              <a:gd name="connsiteY241" fmla="*/ 1795008 h 5152750"/>
              <a:gd name="connsiteX242" fmla="*/ 1841448 w 2618004"/>
              <a:gd name="connsiteY242" fmla="*/ 1929146 h 5152750"/>
              <a:gd name="connsiteX243" fmla="*/ 1864390 w 2618004"/>
              <a:gd name="connsiteY243" fmla="*/ 1809995 h 5152750"/>
              <a:gd name="connsiteX244" fmla="*/ 1801299 w 2618004"/>
              <a:gd name="connsiteY244" fmla="*/ 1827109 h 5152750"/>
              <a:gd name="connsiteX245" fmla="*/ 1795193 w 2618004"/>
              <a:gd name="connsiteY245" fmla="*/ 1766608 h 5152750"/>
              <a:gd name="connsiteX246" fmla="*/ 1917305 w 2618004"/>
              <a:gd name="connsiteY246" fmla="*/ 1802131 h 5152750"/>
              <a:gd name="connsiteX247" fmla="*/ 1886777 w 2618004"/>
              <a:gd name="connsiteY247" fmla="*/ 1945983 h 5152750"/>
              <a:gd name="connsiteX248" fmla="*/ 1901209 w 2618004"/>
              <a:gd name="connsiteY248" fmla="*/ 1970960 h 5152750"/>
              <a:gd name="connsiteX249" fmla="*/ 1951349 w 2618004"/>
              <a:gd name="connsiteY249" fmla="*/ 1934419 h 5152750"/>
              <a:gd name="connsiteX250" fmla="*/ 2000563 w 2618004"/>
              <a:gd name="connsiteY250" fmla="*/ 2010647 h 5152750"/>
              <a:gd name="connsiteX251" fmla="*/ 1974846 w 2618004"/>
              <a:gd name="connsiteY251" fmla="*/ 2010369 h 5152750"/>
              <a:gd name="connsiteX252" fmla="*/ 1921653 w 2618004"/>
              <a:gd name="connsiteY252" fmla="*/ 2019065 h 5152750"/>
              <a:gd name="connsiteX253" fmla="*/ 1963375 w 2618004"/>
              <a:gd name="connsiteY253" fmla="*/ 2053201 h 5152750"/>
              <a:gd name="connsiteX254" fmla="*/ 1985762 w 2618004"/>
              <a:gd name="connsiteY254" fmla="*/ 2065874 h 5152750"/>
              <a:gd name="connsiteX255" fmla="*/ 1905002 w 2618004"/>
              <a:gd name="connsiteY255" fmla="*/ 2107319 h 5152750"/>
              <a:gd name="connsiteX256" fmla="*/ 1879839 w 2618004"/>
              <a:gd name="connsiteY256" fmla="*/ 2050611 h 5152750"/>
              <a:gd name="connsiteX257" fmla="*/ 1854862 w 2618004"/>
              <a:gd name="connsiteY257" fmla="*/ 2065042 h 5152750"/>
              <a:gd name="connsiteX258" fmla="*/ 1840153 w 2618004"/>
              <a:gd name="connsiteY258" fmla="*/ 2174203 h 5152750"/>
              <a:gd name="connsiteX259" fmla="*/ 1891310 w 2618004"/>
              <a:gd name="connsiteY259" fmla="*/ 2271800 h 5152750"/>
              <a:gd name="connsiteX260" fmla="*/ 1919711 w 2618004"/>
              <a:gd name="connsiteY260" fmla="*/ 2276795 h 5152750"/>
              <a:gd name="connsiteX261" fmla="*/ 1923966 w 2618004"/>
              <a:gd name="connsiteY261" fmla="*/ 2214906 h 5152750"/>
              <a:gd name="connsiteX262" fmla="*/ 2013977 w 2618004"/>
              <a:gd name="connsiteY262" fmla="*/ 2226193 h 5152750"/>
              <a:gd name="connsiteX263" fmla="*/ 2005096 w 2618004"/>
              <a:gd name="connsiteY263" fmla="*/ 2236184 h 5152750"/>
              <a:gd name="connsiteX264" fmla="*/ 1969758 w 2618004"/>
              <a:gd name="connsiteY264" fmla="*/ 2291967 h 5152750"/>
              <a:gd name="connsiteX265" fmla="*/ 2011942 w 2618004"/>
              <a:gd name="connsiteY265" fmla="*/ 2285306 h 5152750"/>
              <a:gd name="connsiteX266" fmla="*/ 2046818 w 2618004"/>
              <a:gd name="connsiteY266" fmla="*/ 2272910 h 5152750"/>
              <a:gd name="connsiteX267" fmla="*/ 2026651 w 2618004"/>
              <a:gd name="connsiteY267" fmla="*/ 2361348 h 5152750"/>
              <a:gd name="connsiteX268" fmla="*/ 1966983 w 2618004"/>
              <a:gd name="connsiteY268" fmla="*/ 2344142 h 5152750"/>
              <a:gd name="connsiteX269" fmla="*/ 1961987 w 2618004"/>
              <a:gd name="connsiteY269" fmla="*/ 2372542 h 5152750"/>
              <a:gd name="connsiteX270" fmla="*/ 2039880 w 2618004"/>
              <a:gd name="connsiteY270" fmla="*/ 2497337 h 5152750"/>
              <a:gd name="connsiteX271" fmla="*/ 1937287 w 2618004"/>
              <a:gd name="connsiteY271" fmla="*/ 2572454 h 5152750"/>
              <a:gd name="connsiteX272" fmla="*/ 1922393 w 2618004"/>
              <a:gd name="connsiteY272" fmla="*/ 2513526 h 5152750"/>
              <a:gd name="connsiteX273" fmla="*/ 1987520 w 2618004"/>
              <a:gd name="connsiteY273" fmla="*/ 2508068 h 5152750"/>
              <a:gd name="connsiteX274" fmla="*/ 1925261 w 2618004"/>
              <a:gd name="connsiteY274" fmla="*/ 2403995 h 5152750"/>
              <a:gd name="connsiteX275" fmla="*/ 1836360 w 2618004"/>
              <a:gd name="connsiteY275" fmla="*/ 2579022 h 5152750"/>
              <a:gd name="connsiteX276" fmla="*/ 1803612 w 2618004"/>
              <a:gd name="connsiteY276" fmla="*/ 2588273 h 5152750"/>
              <a:gd name="connsiteX277" fmla="*/ 1726829 w 2618004"/>
              <a:gd name="connsiteY277" fmla="*/ 2646923 h 5152750"/>
              <a:gd name="connsiteX278" fmla="*/ 1804444 w 2618004"/>
              <a:gd name="connsiteY278" fmla="*/ 2667460 h 5152750"/>
              <a:gd name="connsiteX279" fmla="*/ 1854769 w 2618004"/>
              <a:gd name="connsiteY279" fmla="*/ 2662187 h 5152750"/>
              <a:gd name="connsiteX280" fmla="*/ 2009259 w 2618004"/>
              <a:gd name="connsiteY280" fmla="*/ 2783282 h 5152750"/>
              <a:gd name="connsiteX281" fmla="*/ 2021748 w 2618004"/>
              <a:gd name="connsiteY281" fmla="*/ 2662650 h 5152750"/>
              <a:gd name="connsiteX282" fmla="*/ 1960415 w 2618004"/>
              <a:gd name="connsiteY282" fmla="*/ 2685222 h 5152750"/>
              <a:gd name="connsiteX283" fmla="*/ 1949036 w 2618004"/>
              <a:gd name="connsiteY283" fmla="*/ 2625554 h 5152750"/>
              <a:gd name="connsiteX284" fmla="*/ 2073738 w 2618004"/>
              <a:gd name="connsiteY284" fmla="*/ 2650254 h 5152750"/>
              <a:gd name="connsiteX285" fmla="*/ 2055884 w 2618004"/>
              <a:gd name="connsiteY285" fmla="*/ 2796233 h 5152750"/>
              <a:gd name="connsiteX286" fmla="*/ 2072443 w 2618004"/>
              <a:gd name="connsiteY286" fmla="*/ 2819823 h 5152750"/>
              <a:gd name="connsiteX287" fmla="*/ 2119253 w 2618004"/>
              <a:gd name="connsiteY287" fmla="*/ 2779026 h 5152750"/>
              <a:gd name="connsiteX288" fmla="*/ 2174943 w 2618004"/>
              <a:gd name="connsiteY288" fmla="*/ 2850721 h 5152750"/>
              <a:gd name="connsiteX289" fmla="*/ 2097050 w 2618004"/>
              <a:gd name="connsiteY289" fmla="*/ 2865985 h 5152750"/>
              <a:gd name="connsiteX290" fmla="*/ 2164952 w 2618004"/>
              <a:gd name="connsiteY290" fmla="*/ 2906966 h 5152750"/>
              <a:gd name="connsiteX291" fmla="*/ 2088169 w 2618004"/>
              <a:gd name="connsiteY291" fmla="*/ 2955256 h 5152750"/>
              <a:gd name="connsiteX292" fmla="*/ 2058197 w 2618004"/>
              <a:gd name="connsiteY292" fmla="*/ 2900953 h 5152750"/>
              <a:gd name="connsiteX293" fmla="*/ 2034607 w 2618004"/>
              <a:gd name="connsiteY293" fmla="*/ 2917512 h 5152750"/>
              <a:gd name="connsiteX294" fmla="*/ 2001489 w 2618004"/>
              <a:gd name="connsiteY294" fmla="*/ 3060809 h 5152750"/>
              <a:gd name="connsiteX295" fmla="*/ 1875861 w 2618004"/>
              <a:gd name="connsiteY295" fmla="*/ 3041382 h 5152750"/>
              <a:gd name="connsiteX296" fmla="*/ 1906944 w 2618004"/>
              <a:gd name="connsiteY296" fmla="*/ 2989114 h 5152750"/>
              <a:gd name="connsiteX297" fmla="*/ 1956807 w 2618004"/>
              <a:gd name="connsiteY297" fmla="*/ 3031299 h 5152750"/>
              <a:gd name="connsiteX298" fmla="*/ 1986317 w 2618004"/>
              <a:gd name="connsiteY298" fmla="*/ 2913627 h 5152750"/>
              <a:gd name="connsiteX299" fmla="*/ 1799726 w 2618004"/>
              <a:gd name="connsiteY299" fmla="*/ 2974590 h 5152750"/>
              <a:gd name="connsiteX300" fmla="*/ 1754304 w 2618004"/>
              <a:gd name="connsiteY300" fmla="*/ 2952388 h 5152750"/>
              <a:gd name="connsiteX301" fmla="*/ 1674284 w 2618004"/>
              <a:gd name="connsiteY301" fmla="*/ 2945173 h 5152750"/>
              <a:gd name="connsiteX302" fmla="*/ 1714618 w 2618004"/>
              <a:gd name="connsiteY302" fmla="*/ 3014647 h 5152750"/>
              <a:gd name="connsiteX303" fmla="*/ 1739410 w 2618004"/>
              <a:gd name="connsiteY303" fmla="*/ 3037312 h 5152750"/>
              <a:gd name="connsiteX304" fmla="*/ 1753934 w 2618004"/>
              <a:gd name="connsiteY304" fmla="*/ 3046470 h 5152750"/>
              <a:gd name="connsiteX305" fmla="*/ 1777524 w 2618004"/>
              <a:gd name="connsiteY305" fmla="*/ 3241386 h 5152750"/>
              <a:gd name="connsiteX306" fmla="*/ 1871698 w 2618004"/>
              <a:gd name="connsiteY306" fmla="*/ 3164882 h 5152750"/>
              <a:gd name="connsiteX307" fmla="*/ 1812400 w 2618004"/>
              <a:gd name="connsiteY307" fmla="*/ 3137499 h 5152750"/>
              <a:gd name="connsiteX308" fmla="*/ 1846628 w 2618004"/>
              <a:gd name="connsiteY308" fmla="*/ 3087266 h 5152750"/>
              <a:gd name="connsiteX309" fmla="*/ 1917398 w 2618004"/>
              <a:gd name="connsiteY309" fmla="*/ 3192912 h 5152750"/>
              <a:gd name="connsiteX310" fmla="*/ 1801484 w 2618004"/>
              <a:gd name="connsiteY310" fmla="*/ 3283478 h 5152750"/>
              <a:gd name="connsiteX311" fmla="*/ 1796489 w 2618004"/>
              <a:gd name="connsiteY311" fmla="*/ 3311878 h 5152750"/>
              <a:gd name="connsiteX312" fmla="*/ 1858377 w 2618004"/>
              <a:gd name="connsiteY312" fmla="*/ 3316133 h 5152750"/>
              <a:gd name="connsiteX313" fmla="*/ 1847091 w 2618004"/>
              <a:gd name="connsiteY313" fmla="*/ 3406145 h 5152750"/>
              <a:gd name="connsiteX314" fmla="*/ 1818598 w 2618004"/>
              <a:gd name="connsiteY314" fmla="*/ 3382555 h 5152750"/>
              <a:gd name="connsiteX315" fmla="*/ 1781225 w 2618004"/>
              <a:gd name="connsiteY315" fmla="*/ 3361926 h 5152750"/>
              <a:gd name="connsiteX316" fmla="*/ 1795378 w 2618004"/>
              <a:gd name="connsiteY316" fmla="*/ 3426497 h 5152750"/>
              <a:gd name="connsiteX317" fmla="*/ 1800281 w 2618004"/>
              <a:gd name="connsiteY317" fmla="*/ 3438985 h 5152750"/>
              <a:gd name="connsiteX318" fmla="*/ 1711843 w 2618004"/>
              <a:gd name="connsiteY318" fmla="*/ 3418819 h 5152750"/>
              <a:gd name="connsiteX319" fmla="*/ 1729050 w 2618004"/>
              <a:gd name="connsiteY319" fmla="*/ 3359150 h 5152750"/>
              <a:gd name="connsiteX320" fmla="*/ 1700649 w 2618004"/>
              <a:gd name="connsiteY320" fmla="*/ 3354155 h 5152750"/>
              <a:gd name="connsiteX321" fmla="*/ 1619149 w 2618004"/>
              <a:gd name="connsiteY321" fmla="*/ 3428347 h 5152750"/>
              <a:gd name="connsiteX322" fmla="*/ 1595652 w 2618004"/>
              <a:gd name="connsiteY322" fmla="*/ 3536028 h 5152750"/>
              <a:gd name="connsiteX323" fmla="*/ 1614153 w 2618004"/>
              <a:gd name="connsiteY323" fmla="*/ 3558137 h 5152750"/>
              <a:gd name="connsiteX324" fmla="*/ 1657170 w 2618004"/>
              <a:gd name="connsiteY324" fmla="*/ 3513455 h 5152750"/>
              <a:gd name="connsiteX325" fmla="*/ 1718873 w 2618004"/>
              <a:gd name="connsiteY325" fmla="*/ 3579969 h 5152750"/>
              <a:gd name="connsiteX326" fmla="*/ 1693526 w 2618004"/>
              <a:gd name="connsiteY326" fmla="*/ 3584132 h 5152750"/>
              <a:gd name="connsiteX327" fmla="*/ 1642739 w 2618004"/>
              <a:gd name="connsiteY327" fmla="*/ 3601894 h 5152750"/>
              <a:gd name="connsiteX328" fmla="*/ 1701297 w 2618004"/>
              <a:gd name="connsiteY328" fmla="*/ 3632607 h 5152750"/>
              <a:gd name="connsiteX329" fmla="*/ 1714063 w 2618004"/>
              <a:gd name="connsiteY329" fmla="*/ 3636862 h 5152750"/>
              <a:gd name="connsiteX330" fmla="*/ 1641721 w 2618004"/>
              <a:gd name="connsiteY330" fmla="*/ 3691720 h 5152750"/>
              <a:gd name="connsiteX331" fmla="*/ 1607123 w 2618004"/>
              <a:gd name="connsiteY331" fmla="*/ 3640192 h 5152750"/>
              <a:gd name="connsiteX332" fmla="*/ 1585013 w 2618004"/>
              <a:gd name="connsiteY332" fmla="*/ 3658694 h 5152750"/>
              <a:gd name="connsiteX333" fmla="*/ 1564476 w 2618004"/>
              <a:gd name="connsiteY333" fmla="*/ 3804396 h 5152750"/>
              <a:gd name="connsiteX334" fmla="*/ 1437554 w 2618004"/>
              <a:gd name="connsiteY334" fmla="*/ 3795978 h 5152750"/>
              <a:gd name="connsiteX335" fmla="*/ 1464011 w 2618004"/>
              <a:gd name="connsiteY335" fmla="*/ 3741212 h 5152750"/>
              <a:gd name="connsiteX336" fmla="*/ 1517389 w 2618004"/>
              <a:gd name="connsiteY336" fmla="*/ 3778864 h 5152750"/>
              <a:gd name="connsiteX337" fmla="*/ 1536538 w 2618004"/>
              <a:gd name="connsiteY337" fmla="*/ 3659064 h 5152750"/>
              <a:gd name="connsiteX338" fmla="*/ 1355961 w 2618004"/>
              <a:gd name="connsiteY338" fmla="*/ 3736032 h 5152750"/>
              <a:gd name="connsiteX339" fmla="*/ 1300548 w 2618004"/>
              <a:gd name="connsiteY339" fmla="*/ 3716420 h 5152750"/>
              <a:gd name="connsiteX340" fmla="*/ 1228483 w 2618004"/>
              <a:gd name="connsiteY340" fmla="*/ 3717715 h 5152750"/>
              <a:gd name="connsiteX341" fmla="*/ 1274738 w 2618004"/>
              <a:gd name="connsiteY341" fmla="*/ 3783396 h 5152750"/>
              <a:gd name="connsiteX342" fmla="*/ 1316644 w 2618004"/>
              <a:gd name="connsiteY342" fmla="*/ 3811704 h 5152750"/>
              <a:gd name="connsiteX343" fmla="*/ 1357163 w 2618004"/>
              <a:gd name="connsiteY343" fmla="*/ 4003753 h 5152750"/>
              <a:gd name="connsiteX344" fmla="*/ 1444307 w 2618004"/>
              <a:gd name="connsiteY344" fmla="*/ 3919385 h 5152750"/>
              <a:gd name="connsiteX345" fmla="*/ 1382788 w 2618004"/>
              <a:gd name="connsiteY345" fmla="*/ 3897275 h 5152750"/>
              <a:gd name="connsiteX346" fmla="*/ 1412484 w 2618004"/>
              <a:gd name="connsiteY346" fmla="*/ 3844267 h 5152750"/>
              <a:gd name="connsiteX347" fmla="*/ 1492134 w 2618004"/>
              <a:gd name="connsiteY347" fmla="*/ 3943345 h 5152750"/>
              <a:gd name="connsiteX348" fmla="*/ 1384546 w 2618004"/>
              <a:gd name="connsiteY348" fmla="*/ 4043717 h 5152750"/>
              <a:gd name="connsiteX349" fmla="*/ 1382048 w 2618004"/>
              <a:gd name="connsiteY349" fmla="*/ 4072395 h 5152750"/>
              <a:gd name="connsiteX350" fmla="*/ 1444122 w 2618004"/>
              <a:gd name="connsiteY350" fmla="*/ 4071192 h 5152750"/>
              <a:gd name="connsiteX351" fmla="*/ 1440699 w 2618004"/>
              <a:gd name="connsiteY351" fmla="*/ 4161851 h 5152750"/>
              <a:gd name="connsiteX352" fmla="*/ 1371225 w 2618004"/>
              <a:gd name="connsiteY352" fmla="*/ 4123460 h 5152750"/>
              <a:gd name="connsiteX353" fmla="*/ 1396942 w 2618004"/>
              <a:gd name="connsiteY353" fmla="*/ 4198484 h 5152750"/>
              <a:gd name="connsiteX354" fmla="*/ 1307023 w 2618004"/>
              <a:gd name="connsiteY354" fmla="*/ 4186088 h 5152750"/>
              <a:gd name="connsiteX355" fmla="*/ 1318957 w 2618004"/>
              <a:gd name="connsiteY355" fmla="*/ 4125217 h 5152750"/>
              <a:gd name="connsiteX356" fmla="*/ 1290279 w 2618004"/>
              <a:gd name="connsiteY356" fmla="*/ 4122719 h 5152750"/>
              <a:gd name="connsiteX357" fmla="*/ 1172793 w 2618004"/>
              <a:gd name="connsiteY357" fmla="*/ 4211251 h 5152750"/>
              <a:gd name="connsiteX358" fmla="*/ 1089072 w 2618004"/>
              <a:gd name="connsiteY358" fmla="*/ 4115596 h 5152750"/>
              <a:gd name="connsiteX359" fmla="*/ 1146428 w 2618004"/>
              <a:gd name="connsiteY359" fmla="*/ 4095522 h 5152750"/>
              <a:gd name="connsiteX360" fmla="*/ 1157529 w 2618004"/>
              <a:gd name="connsiteY360" fmla="*/ 4159908 h 5152750"/>
              <a:gd name="connsiteX361" fmla="*/ 1255773 w 2618004"/>
              <a:gd name="connsiteY361" fmla="*/ 4088769 h 5152750"/>
              <a:gd name="connsiteX362" fmla="*/ 1073623 w 2618004"/>
              <a:gd name="connsiteY362" fmla="*/ 4015502 h 5152750"/>
              <a:gd name="connsiteX363" fmla="*/ 1048276 w 2618004"/>
              <a:gd name="connsiteY363" fmla="*/ 3962401 h 5152750"/>
              <a:gd name="connsiteX364" fmla="*/ 996378 w 2618004"/>
              <a:gd name="connsiteY364" fmla="*/ 3912354 h 5152750"/>
              <a:gd name="connsiteX365" fmla="*/ 983057 w 2618004"/>
              <a:gd name="connsiteY365" fmla="*/ 3999867 h 5152750"/>
              <a:gd name="connsiteX366" fmla="*/ 992308 w 2618004"/>
              <a:gd name="connsiteY366" fmla="*/ 4041126 h 5152750"/>
              <a:gd name="connsiteX367" fmla="*/ 885090 w 2618004"/>
              <a:gd name="connsiteY367" fmla="*/ 4205608 h 5152750"/>
              <a:gd name="connsiteX368" fmla="*/ 1006369 w 2618004"/>
              <a:gd name="connsiteY368" fmla="*/ 4207550 h 5152750"/>
              <a:gd name="connsiteX369" fmla="*/ 978524 w 2618004"/>
              <a:gd name="connsiteY369" fmla="*/ 4148437 h 5152750"/>
              <a:gd name="connsiteX370" fmla="*/ 1036990 w 2618004"/>
              <a:gd name="connsiteY370" fmla="*/ 4131878 h 5152750"/>
              <a:gd name="connsiteX371" fmla="*/ 1023206 w 2618004"/>
              <a:gd name="connsiteY371" fmla="*/ 4258338 h 5152750"/>
              <a:gd name="connsiteX372" fmla="*/ 876209 w 2618004"/>
              <a:gd name="connsiteY372" fmla="*/ 4253250 h 5152750"/>
              <a:gd name="connsiteX373" fmla="*/ 854099 w 2618004"/>
              <a:gd name="connsiteY373" fmla="*/ 4271752 h 5152750"/>
              <a:gd name="connsiteX374" fmla="*/ 898781 w 2618004"/>
              <a:gd name="connsiteY374" fmla="*/ 4314768 h 5152750"/>
              <a:gd name="connsiteX375" fmla="*/ 832267 w 2618004"/>
              <a:gd name="connsiteY375" fmla="*/ 4376472 h 5152750"/>
              <a:gd name="connsiteX376" fmla="*/ 828104 w 2618004"/>
              <a:gd name="connsiteY376" fmla="*/ 4351032 h 5152750"/>
              <a:gd name="connsiteX377" fmla="*/ 810250 w 2618004"/>
              <a:gd name="connsiteY377" fmla="*/ 4300244 h 5152750"/>
              <a:gd name="connsiteX378" fmla="*/ 783885 w 2618004"/>
              <a:gd name="connsiteY378" fmla="*/ 4347239 h 5152750"/>
              <a:gd name="connsiteX379" fmla="*/ 775374 w 2618004"/>
              <a:gd name="connsiteY379" fmla="*/ 4371476 h 5152750"/>
              <a:gd name="connsiteX380" fmla="*/ 720516 w 2618004"/>
              <a:gd name="connsiteY380" fmla="*/ 4299134 h 5152750"/>
              <a:gd name="connsiteX381" fmla="*/ 772044 w 2618004"/>
              <a:gd name="connsiteY381" fmla="*/ 4264536 h 5152750"/>
              <a:gd name="connsiteX382" fmla="*/ 753542 w 2618004"/>
              <a:gd name="connsiteY382" fmla="*/ 4242426 h 5152750"/>
              <a:gd name="connsiteX383" fmla="*/ 643456 w 2618004"/>
              <a:gd name="connsiteY383" fmla="*/ 4246867 h 5152750"/>
              <a:gd name="connsiteX384" fmla="*/ 556220 w 2618004"/>
              <a:gd name="connsiteY384" fmla="*/ 4314213 h 5152750"/>
              <a:gd name="connsiteX385" fmla="*/ 556220 w 2618004"/>
              <a:gd name="connsiteY385" fmla="*/ 4343076 h 5152750"/>
              <a:gd name="connsiteX386" fmla="*/ 617924 w 2618004"/>
              <a:gd name="connsiteY386" fmla="*/ 4336508 h 5152750"/>
              <a:gd name="connsiteX387" fmla="*/ 622457 w 2618004"/>
              <a:gd name="connsiteY387" fmla="*/ 4427167 h 5152750"/>
              <a:gd name="connsiteX388" fmla="*/ 600347 w 2618004"/>
              <a:gd name="connsiteY388" fmla="*/ 4414031 h 5152750"/>
              <a:gd name="connsiteX389" fmla="*/ 549930 w 2618004"/>
              <a:gd name="connsiteY389" fmla="*/ 4394973 h 5152750"/>
              <a:gd name="connsiteX390" fmla="*/ 568987 w 2618004"/>
              <a:gd name="connsiteY390" fmla="*/ 4445391 h 5152750"/>
              <a:gd name="connsiteX391" fmla="*/ 582123 w 2618004"/>
              <a:gd name="connsiteY391" fmla="*/ 4467501 h 5152750"/>
              <a:gd name="connsiteX392" fmla="*/ 491464 w 2618004"/>
              <a:gd name="connsiteY392" fmla="*/ 4462968 h 5152750"/>
              <a:gd name="connsiteX393" fmla="*/ 498032 w 2618004"/>
              <a:gd name="connsiteY393" fmla="*/ 4401264 h 5152750"/>
              <a:gd name="connsiteX394" fmla="*/ 469169 w 2618004"/>
              <a:gd name="connsiteY394" fmla="*/ 4401264 h 5152750"/>
              <a:gd name="connsiteX395" fmla="*/ 359824 w 2618004"/>
              <a:gd name="connsiteY395" fmla="*/ 4499694 h 5152750"/>
              <a:gd name="connsiteX396" fmla="*/ 268055 w 2618004"/>
              <a:gd name="connsiteY396" fmla="*/ 4411718 h 5152750"/>
              <a:gd name="connsiteX397" fmla="*/ 323468 w 2618004"/>
              <a:gd name="connsiteY397" fmla="*/ 4386740 h 5152750"/>
              <a:gd name="connsiteX398" fmla="*/ 340119 w 2618004"/>
              <a:gd name="connsiteY398" fmla="*/ 4449924 h 5152750"/>
              <a:gd name="connsiteX399" fmla="*/ 431796 w 2618004"/>
              <a:gd name="connsiteY399" fmla="*/ 4370459 h 5152750"/>
              <a:gd name="connsiteX400" fmla="*/ 244002 w 2618004"/>
              <a:gd name="connsiteY400" fmla="*/ 4313381 h 5152750"/>
              <a:gd name="connsiteX401" fmla="*/ 219487 w 2618004"/>
              <a:gd name="connsiteY401" fmla="*/ 4269161 h 5152750"/>
              <a:gd name="connsiteX402" fmla="*/ 158154 w 2618004"/>
              <a:gd name="connsiteY402" fmla="*/ 4217356 h 5152750"/>
              <a:gd name="connsiteX403" fmla="*/ 151401 w 2618004"/>
              <a:gd name="connsiteY403" fmla="*/ 4297377 h 5152750"/>
              <a:gd name="connsiteX404" fmla="*/ 152603 w 2618004"/>
              <a:gd name="connsiteY404" fmla="*/ 4305702 h 5152750"/>
              <a:gd name="connsiteX405" fmla="*/ 156211 w 2618004"/>
              <a:gd name="connsiteY405" fmla="*/ 4322169 h 5152750"/>
              <a:gd name="connsiteX406" fmla="*/ 165370 w 2618004"/>
              <a:gd name="connsiteY406" fmla="*/ 4346129 h 5152750"/>
              <a:gd name="connsiteX407" fmla="*/ 72953 w 2618004"/>
              <a:gd name="connsiteY407" fmla="*/ 4519306 h 5152750"/>
              <a:gd name="connsiteX408" fmla="*/ 193955 w 2618004"/>
              <a:gd name="connsiteY408" fmla="*/ 4510610 h 5152750"/>
              <a:gd name="connsiteX409" fmla="*/ 161114 w 2618004"/>
              <a:gd name="connsiteY409" fmla="*/ 4454179 h 5152750"/>
              <a:gd name="connsiteX410" fmla="*/ 217915 w 2618004"/>
              <a:gd name="connsiteY410" fmla="*/ 4432625 h 5152750"/>
              <a:gd name="connsiteX411" fmla="*/ 215232 w 2618004"/>
              <a:gd name="connsiteY411" fmla="*/ 4559732 h 5152750"/>
              <a:gd name="connsiteX412" fmla="*/ 68328 w 2618004"/>
              <a:gd name="connsiteY412" fmla="*/ 4567503 h 5152750"/>
              <a:gd name="connsiteX413" fmla="*/ 47976 w 2618004"/>
              <a:gd name="connsiteY413" fmla="*/ 4587855 h 5152750"/>
              <a:gd name="connsiteX414" fmla="*/ 96265 w 2618004"/>
              <a:gd name="connsiteY414" fmla="*/ 4626801 h 5152750"/>
              <a:gd name="connsiteX415" fmla="*/ 35302 w 2618004"/>
              <a:gd name="connsiteY415" fmla="*/ 4694055 h 5152750"/>
              <a:gd name="connsiteX416" fmla="*/ 6717 w 2618004"/>
              <a:gd name="connsiteY416" fmla="*/ 4620048 h 5152750"/>
              <a:gd name="connsiteX417" fmla="*/ 6717 w 2618004"/>
              <a:gd name="connsiteY417" fmla="*/ 4783511 h 5152750"/>
              <a:gd name="connsiteX418" fmla="*/ 6717 w 2618004"/>
              <a:gd name="connsiteY418" fmla="*/ 5086663 h 5152750"/>
              <a:gd name="connsiteX419" fmla="*/ 6717 w 2618004"/>
              <a:gd name="connsiteY419" fmla="*/ 5086663 h 5152750"/>
              <a:gd name="connsiteX420" fmla="*/ 6717 w 2618004"/>
              <a:gd name="connsiteY420" fmla="*/ 5147997 h 5152750"/>
              <a:gd name="connsiteX421" fmla="*/ 6717 w 2618004"/>
              <a:gd name="connsiteY421" fmla="*/ 5147997 h 5152750"/>
              <a:gd name="connsiteX422" fmla="*/ 98948 w 2618004"/>
              <a:gd name="connsiteY422" fmla="*/ 4929953 h 5152750"/>
              <a:gd name="connsiteX423" fmla="*/ 284059 w 2618004"/>
              <a:gd name="connsiteY423" fmla="*/ 4939666 h 5152750"/>
              <a:gd name="connsiteX424" fmla="*/ 278323 w 2618004"/>
              <a:gd name="connsiteY424" fmla="*/ 4917834 h 5152750"/>
              <a:gd name="connsiteX425" fmla="*/ 123001 w 2618004"/>
              <a:gd name="connsiteY425" fmla="*/ 4861681 h 5152750"/>
              <a:gd name="connsiteX426" fmla="*/ 201818 w 2618004"/>
              <a:gd name="connsiteY426" fmla="*/ 4842810 h 5152750"/>
              <a:gd name="connsiteX427" fmla="*/ 191272 w 2618004"/>
              <a:gd name="connsiteY427" fmla="*/ 4817832 h 5152750"/>
              <a:gd name="connsiteX428" fmla="*/ 100983 w 2618004"/>
              <a:gd name="connsiteY428" fmla="*/ 4712279 h 5152750"/>
              <a:gd name="connsiteX429" fmla="*/ 259636 w 2618004"/>
              <a:gd name="connsiteY429" fmla="*/ 4653351 h 5152750"/>
              <a:gd name="connsiteX430" fmla="*/ 291089 w 2618004"/>
              <a:gd name="connsiteY430" fmla="*/ 4778609 h 5152750"/>
              <a:gd name="connsiteX431" fmla="*/ 223373 w 2618004"/>
              <a:gd name="connsiteY431" fmla="*/ 4779256 h 5152750"/>
              <a:gd name="connsiteX432" fmla="*/ 365559 w 2618004"/>
              <a:gd name="connsiteY432" fmla="*/ 4806916 h 5152750"/>
              <a:gd name="connsiteX433" fmla="*/ 433646 w 2618004"/>
              <a:gd name="connsiteY433" fmla="*/ 4882311 h 5152750"/>
              <a:gd name="connsiteX434" fmla="*/ 428465 w 2618004"/>
              <a:gd name="connsiteY434" fmla="*/ 4780829 h 5152750"/>
              <a:gd name="connsiteX435" fmla="*/ 509503 w 2618004"/>
              <a:gd name="connsiteY435" fmla="*/ 4660752 h 5152750"/>
              <a:gd name="connsiteX436" fmla="*/ 461214 w 2618004"/>
              <a:gd name="connsiteY436" fmla="*/ 4708116 h 5152750"/>
              <a:gd name="connsiteX437" fmla="*/ 394885 w 2618004"/>
              <a:gd name="connsiteY437" fmla="*/ 4597291 h 5152750"/>
              <a:gd name="connsiteX438" fmla="*/ 548727 w 2618004"/>
              <a:gd name="connsiteY438" fmla="*/ 4526799 h 5152750"/>
              <a:gd name="connsiteX439" fmla="*/ 559551 w 2618004"/>
              <a:gd name="connsiteY439" fmla="*/ 4665285 h 5152750"/>
              <a:gd name="connsiteX440" fmla="*/ 569819 w 2618004"/>
              <a:gd name="connsiteY440" fmla="*/ 4690447 h 5152750"/>
              <a:gd name="connsiteX441" fmla="*/ 638923 w 2618004"/>
              <a:gd name="connsiteY441" fmla="*/ 4648078 h 5152750"/>
              <a:gd name="connsiteX442" fmla="*/ 568802 w 2618004"/>
              <a:gd name="connsiteY442" fmla="*/ 4797573 h 5152750"/>
              <a:gd name="connsiteX443" fmla="*/ 580180 w 2618004"/>
              <a:gd name="connsiteY443" fmla="*/ 4817092 h 5152750"/>
              <a:gd name="connsiteX444" fmla="*/ 704235 w 2618004"/>
              <a:gd name="connsiteY444" fmla="*/ 4679346 h 5152750"/>
              <a:gd name="connsiteX445" fmla="*/ 829307 w 2618004"/>
              <a:gd name="connsiteY445" fmla="*/ 4756499 h 5152750"/>
              <a:gd name="connsiteX446" fmla="*/ 875469 w 2618004"/>
              <a:gd name="connsiteY446" fmla="*/ 4616995 h 5152750"/>
              <a:gd name="connsiteX447" fmla="*/ 1059007 w 2618004"/>
              <a:gd name="connsiteY447" fmla="*/ 4642805 h 5152750"/>
              <a:gd name="connsiteX448" fmla="*/ 1055214 w 2618004"/>
              <a:gd name="connsiteY448" fmla="*/ 4620510 h 5152750"/>
              <a:gd name="connsiteX449" fmla="*/ 905349 w 2618004"/>
              <a:gd name="connsiteY449" fmla="*/ 4551036 h 5152750"/>
              <a:gd name="connsiteX450" fmla="*/ 985462 w 2618004"/>
              <a:gd name="connsiteY450" fmla="*/ 4539103 h 5152750"/>
              <a:gd name="connsiteX451" fmla="*/ 977136 w 2618004"/>
              <a:gd name="connsiteY451" fmla="*/ 4513293 h 5152750"/>
              <a:gd name="connsiteX452" fmla="*/ 896468 w 2618004"/>
              <a:gd name="connsiteY452" fmla="*/ 4400247 h 5152750"/>
              <a:gd name="connsiteX453" fmla="*/ 1059654 w 2618004"/>
              <a:gd name="connsiteY453" fmla="*/ 4355380 h 5152750"/>
              <a:gd name="connsiteX454" fmla="*/ 1080099 w 2618004"/>
              <a:gd name="connsiteY454" fmla="*/ 4482857 h 5152750"/>
              <a:gd name="connsiteX455" fmla="*/ 1012567 w 2618004"/>
              <a:gd name="connsiteY455" fmla="*/ 4477584 h 5152750"/>
              <a:gd name="connsiteX456" fmla="*/ 1151793 w 2618004"/>
              <a:gd name="connsiteY456" fmla="*/ 4517548 h 5152750"/>
              <a:gd name="connsiteX457" fmla="*/ 1213034 w 2618004"/>
              <a:gd name="connsiteY457" fmla="*/ 4598586 h 5152750"/>
              <a:gd name="connsiteX458" fmla="*/ 1216735 w 2618004"/>
              <a:gd name="connsiteY458" fmla="*/ 4497011 h 5152750"/>
              <a:gd name="connsiteX459" fmla="*/ 1307856 w 2618004"/>
              <a:gd name="connsiteY459" fmla="*/ 4384428 h 5152750"/>
              <a:gd name="connsiteX460" fmla="*/ 1255588 w 2618004"/>
              <a:gd name="connsiteY460" fmla="*/ 4427444 h 5152750"/>
              <a:gd name="connsiteX461" fmla="*/ 1199158 w 2618004"/>
              <a:gd name="connsiteY461" fmla="*/ 4311253 h 5152750"/>
              <a:gd name="connsiteX462" fmla="*/ 1358551 w 2618004"/>
              <a:gd name="connsiteY462" fmla="*/ 4254360 h 5152750"/>
              <a:gd name="connsiteX463" fmla="*/ 1357256 w 2618004"/>
              <a:gd name="connsiteY463" fmla="*/ 4393216 h 5152750"/>
              <a:gd name="connsiteX464" fmla="*/ 1365212 w 2618004"/>
              <a:gd name="connsiteY464" fmla="*/ 4419118 h 5152750"/>
              <a:gd name="connsiteX465" fmla="*/ 1437739 w 2618004"/>
              <a:gd name="connsiteY465" fmla="*/ 4382947 h 5152750"/>
              <a:gd name="connsiteX466" fmla="*/ 1354851 w 2618004"/>
              <a:gd name="connsiteY466" fmla="*/ 4525781 h 5152750"/>
              <a:gd name="connsiteX467" fmla="*/ 1364472 w 2618004"/>
              <a:gd name="connsiteY467" fmla="*/ 4546226 h 5152750"/>
              <a:gd name="connsiteX468" fmla="*/ 1499997 w 2618004"/>
              <a:gd name="connsiteY468" fmla="*/ 4419766 h 5152750"/>
              <a:gd name="connsiteX469" fmla="*/ 1710825 w 2618004"/>
              <a:gd name="connsiteY469" fmla="*/ 4527539 h 5152750"/>
              <a:gd name="connsiteX470" fmla="*/ 1641351 w 2618004"/>
              <a:gd name="connsiteY470" fmla="*/ 4301262 h 5152750"/>
              <a:gd name="connsiteX471" fmla="*/ 1789365 w 2618004"/>
              <a:gd name="connsiteY471" fmla="*/ 4189696 h 5152750"/>
              <a:gd name="connsiteX472" fmla="*/ 1770864 w 2618004"/>
              <a:gd name="connsiteY472" fmla="*/ 4176652 h 5152750"/>
              <a:gd name="connsiteX473" fmla="*/ 1615818 w 2618004"/>
              <a:gd name="connsiteY473" fmla="*/ 4233545 h 5152750"/>
              <a:gd name="connsiteX474" fmla="*/ 1664016 w 2618004"/>
              <a:gd name="connsiteY474" fmla="*/ 4168419 h 5152750"/>
              <a:gd name="connsiteX475" fmla="*/ 1639871 w 2618004"/>
              <a:gd name="connsiteY475" fmla="*/ 4156023 h 5152750"/>
              <a:gd name="connsiteX476" fmla="*/ 1502865 w 2618004"/>
              <a:gd name="connsiteY476" fmla="*/ 4133173 h 5152750"/>
              <a:gd name="connsiteX477" fmla="*/ 1586493 w 2618004"/>
              <a:gd name="connsiteY477" fmla="*/ 3986084 h 5152750"/>
              <a:gd name="connsiteX478" fmla="*/ 1691121 w 2618004"/>
              <a:gd name="connsiteY478" fmla="*/ 4061849 h 5152750"/>
              <a:gd name="connsiteX479" fmla="*/ 1639686 w 2618004"/>
              <a:gd name="connsiteY479" fmla="*/ 4105883 h 5152750"/>
              <a:gd name="connsiteX480" fmla="*/ 1766423 w 2618004"/>
              <a:gd name="connsiteY480" fmla="*/ 4035668 h 5152750"/>
              <a:gd name="connsiteX481" fmla="*/ 1867073 w 2618004"/>
              <a:gd name="connsiteY481" fmla="*/ 4049637 h 5152750"/>
              <a:gd name="connsiteX482" fmla="*/ 1797876 w 2618004"/>
              <a:gd name="connsiteY482" fmla="*/ 3975260 h 5152750"/>
              <a:gd name="connsiteX483" fmla="*/ 1782705 w 2618004"/>
              <a:gd name="connsiteY483" fmla="*/ 3831224 h 5152750"/>
              <a:gd name="connsiteX484" fmla="*/ 1776137 w 2618004"/>
              <a:gd name="connsiteY484" fmla="*/ 3898570 h 5152750"/>
              <a:gd name="connsiteX485" fmla="*/ 1654117 w 2618004"/>
              <a:gd name="connsiteY485" fmla="*/ 3856294 h 5152750"/>
              <a:gd name="connsiteX486" fmla="*/ 1726644 w 2618004"/>
              <a:gd name="connsiteY486" fmla="*/ 3703376 h 5152750"/>
              <a:gd name="connsiteX487" fmla="*/ 1823964 w 2618004"/>
              <a:gd name="connsiteY487" fmla="*/ 3802453 h 5152750"/>
              <a:gd name="connsiteX488" fmla="*/ 1847924 w 2618004"/>
              <a:gd name="connsiteY488" fmla="*/ 3815127 h 5152750"/>
              <a:gd name="connsiteX489" fmla="*/ 1873641 w 2618004"/>
              <a:gd name="connsiteY489" fmla="*/ 3738252 h 5152750"/>
              <a:gd name="connsiteX490" fmla="*/ 1916010 w 2618004"/>
              <a:gd name="connsiteY490" fmla="*/ 3897923 h 5152750"/>
              <a:gd name="connsiteX491" fmla="*/ 1937287 w 2618004"/>
              <a:gd name="connsiteY491" fmla="*/ 3905601 h 5152750"/>
              <a:gd name="connsiteX492" fmla="*/ 1943763 w 2618004"/>
              <a:gd name="connsiteY492" fmla="*/ 3720305 h 5152750"/>
              <a:gd name="connsiteX493" fmla="*/ 2089187 w 2618004"/>
              <a:gd name="connsiteY493" fmla="*/ 3699028 h 5152750"/>
              <a:gd name="connsiteX494" fmla="*/ 2034884 w 2618004"/>
              <a:gd name="connsiteY494" fmla="*/ 3562485 h 5152750"/>
              <a:gd name="connsiteX495" fmla="*/ 2192057 w 2618004"/>
              <a:gd name="connsiteY495" fmla="*/ 3464240 h 5152750"/>
              <a:gd name="connsiteX496" fmla="*/ 2174851 w 2618004"/>
              <a:gd name="connsiteY496" fmla="*/ 3449624 h 5152750"/>
              <a:gd name="connsiteX497" fmla="*/ 2015365 w 2618004"/>
              <a:gd name="connsiteY497" fmla="*/ 3492733 h 5152750"/>
              <a:gd name="connsiteX498" fmla="*/ 2069020 w 2618004"/>
              <a:gd name="connsiteY498" fmla="*/ 3432047 h 5152750"/>
              <a:gd name="connsiteX499" fmla="*/ 2046078 w 2618004"/>
              <a:gd name="connsiteY499" fmla="*/ 3417616 h 5152750"/>
              <a:gd name="connsiteX500" fmla="*/ 1911570 w 2618004"/>
              <a:gd name="connsiteY500" fmla="*/ 3382925 h 5152750"/>
              <a:gd name="connsiteX501" fmla="*/ 2007779 w 2618004"/>
              <a:gd name="connsiteY501" fmla="*/ 3243699 h 5152750"/>
              <a:gd name="connsiteX502" fmla="*/ 2105376 w 2618004"/>
              <a:gd name="connsiteY502" fmla="*/ 3328252 h 5152750"/>
              <a:gd name="connsiteX503" fmla="*/ 2050333 w 2618004"/>
              <a:gd name="connsiteY503" fmla="*/ 3367661 h 5152750"/>
              <a:gd name="connsiteX504" fmla="*/ 2182714 w 2618004"/>
              <a:gd name="connsiteY504" fmla="*/ 3308733 h 5152750"/>
              <a:gd name="connsiteX505" fmla="*/ 2281791 w 2618004"/>
              <a:gd name="connsiteY505" fmla="*/ 3331490 h 5152750"/>
              <a:gd name="connsiteX506" fmla="*/ 2219347 w 2618004"/>
              <a:gd name="connsiteY506" fmla="*/ 3251285 h 5152750"/>
              <a:gd name="connsiteX507" fmla="*/ 2216850 w 2618004"/>
              <a:gd name="connsiteY507" fmla="*/ 3106416 h 5152750"/>
              <a:gd name="connsiteX508" fmla="*/ 2204453 w 2618004"/>
              <a:gd name="connsiteY508" fmla="*/ 3172930 h 5152750"/>
              <a:gd name="connsiteX509" fmla="*/ 2086597 w 2618004"/>
              <a:gd name="connsiteY509" fmla="*/ 3120200 h 5152750"/>
              <a:gd name="connsiteX510" fmla="*/ 2172168 w 2618004"/>
              <a:gd name="connsiteY510" fmla="*/ 2974220 h 5152750"/>
              <a:gd name="connsiteX511" fmla="*/ 2260514 w 2618004"/>
              <a:gd name="connsiteY511" fmla="*/ 3081438 h 5152750"/>
              <a:gd name="connsiteX512" fmla="*/ 2283271 w 2618004"/>
              <a:gd name="connsiteY512" fmla="*/ 3096147 h 5152750"/>
              <a:gd name="connsiteX513" fmla="*/ 2315557 w 2618004"/>
              <a:gd name="connsiteY513" fmla="*/ 3021862 h 5152750"/>
              <a:gd name="connsiteX514" fmla="*/ 2343864 w 2618004"/>
              <a:gd name="connsiteY514" fmla="*/ 3184586 h 5152750"/>
              <a:gd name="connsiteX515" fmla="*/ 2364401 w 2618004"/>
              <a:gd name="connsiteY515" fmla="*/ 3194022 h 5152750"/>
              <a:gd name="connsiteX516" fmla="*/ 2386974 w 2618004"/>
              <a:gd name="connsiteY516" fmla="*/ 3010021 h 5152750"/>
              <a:gd name="connsiteX517" fmla="*/ 2617414 w 2618004"/>
              <a:gd name="connsiteY517" fmla="*/ 2957939 h 5152750"/>
              <a:gd name="connsiteX518" fmla="*/ 2249413 w 2618004"/>
              <a:gd name="connsiteY518" fmla="*/ 1202951 h 5152750"/>
              <a:gd name="connsiteX519" fmla="*/ 1986872 w 2618004"/>
              <a:gd name="connsiteY519" fmla="*/ 1354573 h 5152750"/>
              <a:gd name="connsiteX520" fmla="*/ 2249413 w 2618004"/>
              <a:gd name="connsiteY520" fmla="*/ 1202951 h 5152750"/>
              <a:gd name="connsiteX521" fmla="*/ 437346 w 2618004"/>
              <a:gd name="connsiteY521" fmla="*/ 472592 h 5152750"/>
              <a:gd name="connsiteX522" fmla="*/ 397937 w 2618004"/>
              <a:gd name="connsiteY522" fmla="*/ 450575 h 5152750"/>
              <a:gd name="connsiteX523" fmla="*/ 434941 w 2618004"/>
              <a:gd name="connsiteY523" fmla="*/ 418659 h 5152750"/>
              <a:gd name="connsiteX524" fmla="*/ 474627 w 2618004"/>
              <a:gd name="connsiteY524" fmla="*/ 447245 h 5152750"/>
              <a:gd name="connsiteX525" fmla="*/ 437346 w 2618004"/>
              <a:gd name="connsiteY525" fmla="*/ 472592 h 5152750"/>
              <a:gd name="connsiteX526" fmla="*/ 788880 w 2618004"/>
              <a:gd name="connsiteY526" fmla="*/ 349278 h 5152750"/>
              <a:gd name="connsiteX527" fmla="*/ 892583 w 2618004"/>
              <a:gd name="connsiteY527" fmla="*/ 64350 h 5152750"/>
              <a:gd name="connsiteX528" fmla="*/ 788880 w 2618004"/>
              <a:gd name="connsiteY528" fmla="*/ 349278 h 5152750"/>
              <a:gd name="connsiteX529" fmla="*/ 978894 w 2618004"/>
              <a:gd name="connsiteY529" fmla="*/ 669729 h 5152750"/>
              <a:gd name="connsiteX530" fmla="*/ 966590 w 2618004"/>
              <a:gd name="connsiteY530" fmla="*/ 626342 h 5152750"/>
              <a:gd name="connsiteX531" fmla="*/ 1015342 w 2618004"/>
              <a:gd name="connsiteY531" fmla="*/ 629950 h 5152750"/>
              <a:gd name="connsiteX532" fmla="*/ 1023206 w 2618004"/>
              <a:gd name="connsiteY532" fmla="*/ 678240 h 5152750"/>
              <a:gd name="connsiteX533" fmla="*/ 978894 w 2618004"/>
              <a:gd name="connsiteY533" fmla="*/ 669729 h 5152750"/>
              <a:gd name="connsiteX534" fmla="*/ 1311649 w 2618004"/>
              <a:gd name="connsiteY534" fmla="*/ 964832 h 5152750"/>
              <a:gd name="connsiteX535" fmla="*/ 1281398 w 2618004"/>
              <a:gd name="connsiteY535" fmla="*/ 978801 h 5152750"/>
              <a:gd name="connsiteX536" fmla="*/ 1289909 w 2618004"/>
              <a:gd name="connsiteY536" fmla="*/ 946608 h 5152750"/>
              <a:gd name="connsiteX537" fmla="*/ 1355036 w 2618004"/>
              <a:gd name="connsiteY537" fmla="*/ 891103 h 5152750"/>
              <a:gd name="connsiteX538" fmla="*/ 1311649 w 2618004"/>
              <a:gd name="connsiteY538" fmla="*/ 964832 h 5152750"/>
              <a:gd name="connsiteX539" fmla="*/ 1421087 w 2618004"/>
              <a:gd name="connsiteY539" fmla="*/ 920428 h 5152750"/>
              <a:gd name="connsiteX540" fmla="*/ 1421087 w 2618004"/>
              <a:gd name="connsiteY540" fmla="*/ 920428 h 5152750"/>
              <a:gd name="connsiteX541" fmla="*/ 1421087 w 2618004"/>
              <a:gd name="connsiteY541" fmla="*/ 920428 h 5152750"/>
              <a:gd name="connsiteX542" fmla="*/ 1409246 w 2618004"/>
              <a:gd name="connsiteY542" fmla="*/ 848919 h 5152750"/>
              <a:gd name="connsiteX543" fmla="*/ 1408783 w 2618004"/>
              <a:gd name="connsiteY543" fmla="*/ 827087 h 5152750"/>
              <a:gd name="connsiteX544" fmla="*/ 1314702 w 2618004"/>
              <a:gd name="connsiteY544" fmla="*/ 831157 h 5152750"/>
              <a:gd name="connsiteX545" fmla="*/ 1314702 w 2618004"/>
              <a:gd name="connsiteY545" fmla="*/ 831157 h 5152750"/>
              <a:gd name="connsiteX546" fmla="*/ 1314702 w 2618004"/>
              <a:gd name="connsiteY546" fmla="*/ 831157 h 5152750"/>
              <a:gd name="connsiteX547" fmla="*/ 1462531 w 2618004"/>
              <a:gd name="connsiteY547" fmla="*/ 714781 h 5152750"/>
              <a:gd name="connsiteX548" fmla="*/ 1487878 w 2618004"/>
              <a:gd name="connsiteY548" fmla="*/ 707657 h 5152750"/>
              <a:gd name="connsiteX549" fmla="*/ 1512856 w 2618004"/>
              <a:gd name="connsiteY549" fmla="*/ 703124 h 5152750"/>
              <a:gd name="connsiteX550" fmla="*/ 1511746 w 2618004"/>
              <a:gd name="connsiteY550" fmla="*/ 741516 h 5152750"/>
              <a:gd name="connsiteX551" fmla="*/ 1421087 w 2618004"/>
              <a:gd name="connsiteY551" fmla="*/ 920428 h 5152750"/>
              <a:gd name="connsiteX552" fmla="*/ 1638298 w 2618004"/>
              <a:gd name="connsiteY552" fmla="*/ 1223025 h 5152750"/>
              <a:gd name="connsiteX553" fmla="*/ 1622294 w 2618004"/>
              <a:gd name="connsiteY553" fmla="*/ 1180841 h 5152750"/>
              <a:gd name="connsiteX554" fmla="*/ 1671231 w 2618004"/>
              <a:gd name="connsiteY554" fmla="*/ 1180193 h 5152750"/>
              <a:gd name="connsiteX555" fmla="*/ 1683258 w 2618004"/>
              <a:gd name="connsiteY555" fmla="*/ 1227558 h 5152750"/>
              <a:gd name="connsiteX556" fmla="*/ 1638298 w 2618004"/>
              <a:gd name="connsiteY556" fmla="*/ 1223025 h 5152750"/>
              <a:gd name="connsiteX557" fmla="*/ 1954957 w 2618004"/>
              <a:gd name="connsiteY557" fmla="*/ 1757080 h 5152750"/>
              <a:gd name="connsiteX558" fmla="*/ 1926464 w 2618004"/>
              <a:gd name="connsiteY558" fmla="*/ 1722111 h 5152750"/>
              <a:gd name="connsiteX559" fmla="*/ 1944966 w 2618004"/>
              <a:gd name="connsiteY559" fmla="*/ 1680945 h 5152750"/>
              <a:gd name="connsiteX560" fmla="*/ 1980026 w 2618004"/>
              <a:gd name="connsiteY560" fmla="*/ 1715080 h 5152750"/>
              <a:gd name="connsiteX561" fmla="*/ 1954957 w 2618004"/>
              <a:gd name="connsiteY561" fmla="*/ 1757080 h 5152750"/>
              <a:gd name="connsiteX562" fmla="*/ 1991683 w 2618004"/>
              <a:gd name="connsiteY562" fmla="*/ 2162084 h 5152750"/>
              <a:gd name="connsiteX563" fmla="*/ 1959582 w 2618004"/>
              <a:gd name="connsiteY563" fmla="*/ 2153388 h 5152750"/>
              <a:gd name="connsiteX564" fmla="*/ 1986780 w 2618004"/>
              <a:gd name="connsiteY564" fmla="*/ 2134146 h 5152750"/>
              <a:gd name="connsiteX565" fmla="*/ 2072350 w 2618004"/>
              <a:gd name="connsiteY565" fmla="*/ 2133499 h 5152750"/>
              <a:gd name="connsiteX566" fmla="*/ 1991683 w 2618004"/>
              <a:gd name="connsiteY566" fmla="*/ 2162084 h 5152750"/>
              <a:gd name="connsiteX567" fmla="*/ 2313984 w 2618004"/>
              <a:gd name="connsiteY567" fmla="*/ 2090852 h 5152750"/>
              <a:gd name="connsiteX568" fmla="*/ 2278738 w 2618004"/>
              <a:gd name="connsiteY568" fmla="*/ 2128596 h 5152750"/>
              <a:gd name="connsiteX569" fmla="*/ 2104081 w 2618004"/>
              <a:gd name="connsiteY569" fmla="*/ 2198440 h 5152750"/>
              <a:gd name="connsiteX570" fmla="*/ 2104081 w 2618004"/>
              <a:gd name="connsiteY570" fmla="*/ 2198440 h 5152750"/>
              <a:gd name="connsiteX571" fmla="*/ 2104081 w 2618004"/>
              <a:gd name="connsiteY571" fmla="*/ 2198440 h 5152750"/>
              <a:gd name="connsiteX572" fmla="*/ 2154683 w 2618004"/>
              <a:gd name="connsiteY572" fmla="*/ 2118975 h 5152750"/>
              <a:gd name="connsiteX573" fmla="*/ 2079936 w 2618004"/>
              <a:gd name="connsiteY573" fmla="*/ 2061619 h 5152750"/>
              <a:gd name="connsiteX574" fmla="*/ 2313984 w 2618004"/>
              <a:gd name="connsiteY574" fmla="*/ 2090852 h 5152750"/>
              <a:gd name="connsiteX575" fmla="*/ 2107411 w 2618004"/>
              <a:gd name="connsiteY575" fmla="*/ 2602242 h 5152750"/>
              <a:gd name="connsiteX576" fmla="*/ 2075958 w 2618004"/>
              <a:gd name="connsiteY576" fmla="*/ 2569864 h 5152750"/>
              <a:gd name="connsiteX577" fmla="*/ 2090760 w 2618004"/>
              <a:gd name="connsiteY577" fmla="*/ 2527309 h 5152750"/>
              <a:gd name="connsiteX578" fmla="*/ 2128596 w 2618004"/>
              <a:gd name="connsiteY578" fmla="*/ 2558207 h 5152750"/>
              <a:gd name="connsiteX579" fmla="*/ 2107411 w 2618004"/>
              <a:gd name="connsiteY579" fmla="*/ 2602242 h 5152750"/>
              <a:gd name="connsiteX580" fmla="*/ 315697 w 2618004"/>
              <a:gd name="connsiteY580" fmla="*/ 4597661 h 5152750"/>
              <a:gd name="connsiteX581" fmla="*/ 268610 w 2618004"/>
              <a:gd name="connsiteY581" fmla="*/ 4584339 h 5152750"/>
              <a:gd name="connsiteX582" fmla="*/ 294975 w 2618004"/>
              <a:gd name="connsiteY582" fmla="*/ 4547798 h 5152750"/>
              <a:gd name="connsiteX583" fmla="*/ 339472 w 2618004"/>
              <a:gd name="connsiteY583" fmla="*/ 4555014 h 5152750"/>
              <a:gd name="connsiteX584" fmla="*/ 315697 w 2618004"/>
              <a:gd name="connsiteY584" fmla="*/ 4597661 h 5152750"/>
              <a:gd name="connsiteX585" fmla="*/ 685085 w 2618004"/>
              <a:gd name="connsiteY585" fmla="*/ 4360838 h 5152750"/>
              <a:gd name="connsiteX586" fmla="*/ 708675 w 2618004"/>
              <a:gd name="connsiteY586" fmla="*/ 4384335 h 5152750"/>
              <a:gd name="connsiteX587" fmla="*/ 724217 w 2618004"/>
              <a:gd name="connsiteY587" fmla="*/ 4468518 h 5152750"/>
              <a:gd name="connsiteX588" fmla="*/ 682033 w 2618004"/>
              <a:gd name="connsiteY588" fmla="*/ 4394049 h 5152750"/>
              <a:gd name="connsiteX589" fmla="*/ 685085 w 2618004"/>
              <a:gd name="connsiteY589" fmla="*/ 4360838 h 5152750"/>
              <a:gd name="connsiteX590" fmla="*/ 823201 w 2618004"/>
              <a:gd name="connsiteY590" fmla="*/ 4649651 h 5152750"/>
              <a:gd name="connsiteX591" fmla="*/ 808122 w 2618004"/>
              <a:gd name="connsiteY591" fmla="*/ 4699051 h 5152750"/>
              <a:gd name="connsiteX592" fmla="*/ 786198 w 2618004"/>
              <a:gd name="connsiteY592" fmla="*/ 4686284 h 5152750"/>
              <a:gd name="connsiteX593" fmla="*/ 764828 w 2618004"/>
              <a:gd name="connsiteY593" fmla="*/ 4670928 h 5152750"/>
              <a:gd name="connsiteX594" fmla="*/ 665751 w 2618004"/>
              <a:gd name="connsiteY594" fmla="*/ 4511072 h 5152750"/>
              <a:gd name="connsiteX595" fmla="*/ 665751 w 2618004"/>
              <a:gd name="connsiteY595" fmla="*/ 4511072 h 5152750"/>
              <a:gd name="connsiteX596" fmla="*/ 665751 w 2618004"/>
              <a:gd name="connsiteY596" fmla="*/ 4511072 h 5152750"/>
              <a:gd name="connsiteX597" fmla="*/ 752802 w 2618004"/>
              <a:gd name="connsiteY597" fmla="*/ 4547058 h 5152750"/>
              <a:gd name="connsiteX598" fmla="*/ 760758 w 2618004"/>
              <a:gd name="connsiteY598" fmla="*/ 4526706 h 5152750"/>
              <a:gd name="connsiteX599" fmla="*/ 796281 w 2618004"/>
              <a:gd name="connsiteY599" fmla="*/ 4463523 h 5152750"/>
              <a:gd name="connsiteX600" fmla="*/ 796281 w 2618004"/>
              <a:gd name="connsiteY600" fmla="*/ 4463523 h 5152750"/>
              <a:gd name="connsiteX601" fmla="*/ 796281 w 2618004"/>
              <a:gd name="connsiteY601" fmla="*/ 4463523 h 5152750"/>
              <a:gd name="connsiteX602" fmla="*/ 823201 w 2618004"/>
              <a:gd name="connsiteY602" fmla="*/ 4649651 h 5152750"/>
              <a:gd name="connsiteX603" fmla="*/ 1120155 w 2618004"/>
              <a:gd name="connsiteY603" fmla="*/ 4304870 h 5152750"/>
              <a:gd name="connsiteX604" fmla="*/ 1074456 w 2618004"/>
              <a:gd name="connsiteY604" fmla="*/ 4287478 h 5152750"/>
              <a:gd name="connsiteX605" fmla="*/ 1103966 w 2618004"/>
              <a:gd name="connsiteY605" fmla="*/ 4253342 h 5152750"/>
              <a:gd name="connsiteX606" fmla="*/ 1147723 w 2618004"/>
              <a:gd name="connsiteY606" fmla="*/ 4264443 h 5152750"/>
              <a:gd name="connsiteX607" fmla="*/ 1120155 w 2618004"/>
              <a:gd name="connsiteY607" fmla="*/ 4304870 h 5152750"/>
              <a:gd name="connsiteX608" fmla="*/ 1671416 w 2618004"/>
              <a:gd name="connsiteY608" fmla="*/ 4481284 h 5152750"/>
              <a:gd name="connsiteX609" fmla="*/ 1476500 w 2618004"/>
              <a:gd name="connsiteY609" fmla="*/ 4248994 h 5152750"/>
              <a:gd name="connsiteX610" fmla="*/ 1671416 w 2618004"/>
              <a:gd name="connsiteY610" fmla="*/ 4481284 h 5152750"/>
              <a:gd name="connsiteX611" fmla="*/ 1548749 w 2618004"/>
              <a:gd name="connsiteY611" fmla="*/ 3927896 h 5152750"/>
              <a:gd name="connsiteX612" fmla="*/ 1545419 w 2618004"/>
              <a:gd name="connsiteY612" fmla="*/ 3882936 h 5152750"/>
              <a:gd name="connsiteX613" fmla="*/ 1584180 w 2618004"/>
              <a:gd name="connsiteY613" fmla="*/ 3859809 h 5152750"/>
              <a:gd name="connsiteX614" fmla="*/ 1593339 w 2618004"/>
              <a:gd name="connsiteY614" fmla="*/ 3907821 h 5152750"/>
              <a:gd name="connsiteX615" fmla="*/ 1548749 w 2618004"/>
              <a:gd name="connsiteY615" fmla="*/ 3927896 h 5152750"/>
              <a:gd name="connsiteX616" fmla="*/ 1743018 w 2618004"/>
              <a:gd name="connsiteY616" fmla="*/ 3516416 h 5152750"/>
              <a:gd name="connsiteX617" fmla="*/ 1723962 w 2618004"/>
              <a:gd name="connsiteY617" fmla="*/ 3489033 h 5152750"/>
              <a:gd name="connsiteX618" fmla="*/ 1757172 w 2618004"/>
              <a:gd name="connsiteY618" fmla="*/ 3491808 h 5152750"/>
              <a:gd name="connsiteX619" fmla="*/ 1823131 w 2618004"/>
              <a:gd name="connsiteY619" fmla="*/ 3546296 h 5152750"/>
              <a:gd name="connsiteX620" fmla="*/ 1743018 w 2618004"/>
              <a:gd name="connsiteY620" fmla="*/ 3516416 h 5152750"/>
              <a:gd name="connsiteX621" fmla="*/ 2015457 w 2618004"/>
              <a:gd name="connsiteY621" fmla="*/ 3621506 h 5152750"/>
              <a:gd name="connsiteX622" fmla="*/ 2035624 w 2618004"/>
              <a:gd name="connsiteY622" fmla="*/ 3668963 h 5152750"/>
              <a:gd name="connsiteX623" fmla="*/ 2023321 w 2618004"/>
              <a:gd name="connsiteY623" fmla="*/ 3671368 h 5152750"/>
              <a:gd name="connsiteX624" fmla="*/ 1997696 w 2618004"/>
              <a:gd name="connsiteY624" fmla="*/ 3674514 h 5152750"/>
              <a:gd name="connsiteX625" fmla="*/ 1805739 w 2618004"/>
              <a:gd name="connsiteY625" fmla="*/ 3616418 h 5152750"/>
              <a:gd name="connsiteX626" fmla="*/ 1805739 w 2618004"/>
              <a:gd name="connsiteY626" fmla="*/ 3616418 h 5152750"/>
              <a:gd name="connsiteX627" fmla="*/ 1805739 w 2618004"/>
              <a:gd name="connsiteY627" fmla="*/ 3616418 h 5152750"/>
              <a:gd name="connsiteX628" fmla="*/ 1871328 w 2618004"/>
              <a:gd name="connsiteY628" fmla="*/ 3593105 h 5152750"/>
              <a:gd name="connsiteX629" fmla="*/ 1884927 w 2618004"/>
              <a:gd name="connsiteY629" fmla="*/ 3590053 h 5152750"/>
              <a:gd name="connsiteX630" fmla="*/ 1895566 w 2618004"/>
              <a:gd name="connsiteY630" fmla="*/ 3588110 h 5152750"/>
              <a:gd name="connsiteX631" fmla="*/ 1875214 w 2618004"/>
              <a:gd name="connsiteY631" fmla="*/ 3496156 h 5152750"/>
              <a:gd name="connsiteX632" fmla="*/ 1875214 w 2618004"/>
              <a:gd name="connsiteY632" fmla="*/ 3496156 h 5152750"/>
              <a:gd name="connsiteX633" fmla="*/ 1875214 w 2618004"/>
              <a:gd name="connsiteY633" fmla="*/ 3496156 h 5152750"/>
              <a:gd name="connsiteX634" fmla="*/ 2015457 w 2618004"/>
              <a:gd name="connsiteY634" fmla="*/ 3621506 h 5152750"/>
              <a:gd name="connsiteX635" fmla="*/ 1975216 w 2618004"/>
              <a:gd name="connsiteY635" fmla="*/ 3182550 h 5152750"/>
              <a:gd name="connsiteX636" fmla="*/ 1975863 w 2618004"/>
              <a:gd name="connsiteY636" fmla="*/ 3137406 h 5152750"/>
              <a:gd name="connsiteX637" fmla="*/ 2016475 w 2618004"/>
              <a:gd name="connsiteY637" fmla="*/ 3117794 h 5152750"/>
              <a:gd name="connsiteX638" fmla="*/ 2021378 w 2618004"/>
              <a:gd name="connsiteY638" fmla="*/ 3166454 h 5152750"/>
              <a:gd name="connsiteX639" fmla="*/ 1975216 w 2618004"/>
              <a:gd name="connsiteY639" fmla="*/ 3182550 h 5152750"/>
              <a:gd name="connsiteX640" fmla="*/ 2258386 w 2618004"/>
              <a:gd name="connsiteY640" fmla="*/ 2894663 h 5152750"/>
              <a:gd name="connsiteX641" fmla="*/ 2557005 w 2618004"/>
              <a:gd name="connsiteY641" fmla="*/ 2947300 h 5152750"/>
              <a:gd name="connsiteX642" fmla="*/ 2258386 w 2618004"/>
              <a:gd name="connsiteY642" fmla="*/ 2894663 h 515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</a:cxnLst>
            <a:rect l="l" t="t" r="r" b="b"/>
            <a:pathLst>
              <a:path w="2618004" h="5152750">
                <a:moveTo>
                  <a:pt x="2617414" y="2957939"/>
                </a:moveTo>
                <a:cubicBezTo>
                  <a:pt x="2586886" y="2908724"/>
                  <a:pt x="2527310" y="2849333"/>
                  <a:pt x="2418704" y="2829259"/>
                </a:cubicBezTo>
                <a:cubicBezTo>
                  <a:pt x="2480223" y="2773476"/>
                  <a:pt x="2488271" y="2683557"/>
                  <a:pt x="2460426" y="2648681"/>
                </a:cubicBezTo>
                <a:cubicBezTo>
                  <a:pt x="2454043" y="2640633"/>
                  <a:pt x="2442941" y="2641743"/>
                  <a:pt x="2437946" y="2650531"/>
                </a:cubicBezTo>
                <a:cubicBezTo>
                  <a:pt x="2428510" y="2667183"/>
                  <a:pt x="2449510" y="2740265"/>
                  <a:pt x="2355706" y="2793735"/>
                </a:cubicBezTo>
                <a:cubicBezTo>
                  <a:pt x="2365974" y="2770146"/>
                  <a:pt x="2365697" y="2742948"/>
                  <a:pt x="2350803" y="2712882"/>
                </a:cubicBezTo>
                <a:cubicBezTo>
                  <a:pt x="2343494" y="2698081"/>
                  <a:pt x="2323697" y="2704557"/>
                  <a:pt x="2324345" y="2718895"/>
                </a:cubicBezTo>
                <a:cubicBezTo>
                  <a:pt x="2330451" y="2855994"/>
                  <a:pt x="2244602" y="2844523"/>
                  <a:pt x="2204731" y="2789480"/>
                </a:cubicBezTo>
                <a:cubicBezTo>
                  <a:pt x="2173648" y="2746556"/>
                  <a:pt x="2160327" y="2676711"/>
                  <a:pt x="2174295" y="2623056"/>
                </a:cubicBezTo>
                <a:cubicBezTo>
                  <a:pt x="2190947" y="2558948"/>
                  <a:pt x="2307508" y="2515653"/>
                  <a:pt x="2303160" y="2613805"/>
                </a:cubicBezTo>
                <a:cubicBezTo>
                  <a:pt x="2217220" y="2607885"/>
                  <a:pt x="2230818" y="2676434"/>
                  <a:pt x="2292059" y="2680597"/>
                </a:cubicBezTo>
                <a:cubicBezTo>
                  <a:pt x="2339146" y="2683835"/>
                  <a:pt x="2399925" y="2640726"/>
                  <a:pt x="2343957" y="2545349"/>
                </a:cubicBezTo>
                <a:cubicBezTo>
                  <a:pt x="2397890" y="2536005"/>
                  <a:pt x="2422127" y="2509548"/>
                  <a:pt x="2429990" y="2491416"/>
                </a:cubicBezTo>
                <a:cubicBezTo>
                  <a:pt x="2415189" y="2478280"/>
                  <a:pt x="2381978" y="2464588"/>
                  <a:pt x="2329155" y="2478835"/>
                </a:cubicBezTo>
                <a:cubicBezTo>
                  <a:pt x="2339609" y="2368749"/>
                  <a:pt x="2266249" y="2355428"/>
                  <a:pt x="2224990" y="2378185"/>
                </a:cubicBezTo>
                <a:cubicBezTo>
                  <a:pt x="2171243" y="2407880"/>
                  <a:pt x="2187894" y="2475782"/>
                  <a:pt x="2263289" y="2433968"/>
                </a:cubicBezTo>
                <a:cubicBezTo>
                  <a:pt x="2308804" y="2521019"/>
                  <a:pt x="2184841" y="2531102"/>
                  <a:pt x="2142657" y="2480037"/>
                </a:cubicBezTo>
                <a:cubicBezTo>
                  <a:pt x="2107319" y="2437298"/>
                  <a:pt x="2089927" y="2368286"/>
                  <a:pt x="2099918" y="2316296"/>
                </a:cubicBezTo>
                <a:cubicBezTo>
                  <a:pt x="2112777" y="2249505"/>
                  <a:pt x="2185674" y="2202788"/>
                  <a:pt x="2238219" y="2329618"/>
                </a:cubicBezTo>
                <a:cubicBezTo>
                  <a:pt x="2243770" y="2342939"/>
                  <a:pt x="2264399" y="2340349"/>
                  <a:pt x="2264769" y="2323882"/>
                </a:cubicBezTo>
                <a:cubicBezTo>
                  <a:pt x="2265509" y="2290301"/>
                  <a:pt x="2254408" y="2265509"/>
                  <a:pt x="2235074" y="2248487"/>
                </a:cubicBezTo>
                <a:cubicBezTo>
                  <a:pt x="2342754" y="2257276"/>
                  <a:pt x="2354595" y="2332485"/>
                  <a:pt x="2370137" y="2343587"/>
                </a:cubicBezTo>
                <a:cubicBezTo>
                  <a:pt x="2378370" y="2349415"/>
                  <a:pt x="2388916" y="2345714"/>
                  <a:pt x="2391322" y="2335816"/>
                </a:cubicBezTo>
                <a:cubicBezTo>
                  <a:pt x="2401775" y="2292429"/>
                  <a:pt x="2356538" y="2214259"/>
                  <a:pt x="2277165" y="2189744"/>
                </a:cubicBezTo>
                <a:cubicBezTo>
                  <a:pt x="2325178" y="2155516"/>
                  <a:pt x="2355706" y="2117125"/>
                  <a:pt x="2374855" y="2080028"/>
                </a:cubicBezTo>
                <a:cubicBezTo>
                  <a:pt x="2344142" y="2051721"/>
                  <a:pt x="2302235" y="2026003"/>
                  <a:pt x="2245527" y="2010277"/>
                </a:cubicBezTo>
                <a:cubicBezTo>
                  <a:pt x="2311671" y="1960044"/>
                  <a:pt x="2327490" y="1871236"/>
                  <a:pt x="2302790" y="1833954"/>
                </a:cubicBezTo>
                <a:cubicBezTo>
                  <a:pt x="2297147" y="1825444"/>
                  <a:pt x="2285954" y="1825536"/>
                  <a:pt x="2280218" y="1833862"/>
                </a:cubicBezTo>
                <a:cubicBezTo>
                  <a:pt x="2269395" y="1849589"/>
                  <a:pt x="2284011" y="1924243"/>
                  <a:pt x="2185767" y="1969388"/>
                </a:cubicBezTo>
                <a:cubicBezTo>
                  <a:pt x="2198070" y="1946723"/>
                  <a:pt x="2200105" y="1919710"/>
                  <a:pt x="2187894" y="1888442"/>
                </a:cubicBezTo>
                <a:cubicBezTo>
                  <a:pt x="2181881" y="1873086"/>
                  <a:pt x="2161622" y="1877711"/>
                  <a:pt x="2160974" y="1892143"/>
                </a:cubicBezTo>
                <a:cubicBezTo>
                  <a:pt x="2155054" y="2029333"/>
                  <a:pt x="2070593" y="2010369"/>
                  <a:pt x="2035624" y="1951996"/>
                </a:cubicBezTo>
                <a:cubicBezTo>
                  <a:pt x="2008427" y="1906574"/>
                  <a:pt x="2001211" y="1835805"/>
                  <a:pt x="2019805" y="1783537"/>
                </a:cubicBezTo>
                <a:cubicBezTo>
                  <a:pt x="2042008" y="1721094"/>
                  <a:pt x="2161899" y="1688160"/>
                  <a:pt x="2148948" y="1785572"/>
                </a:cubicBezTo>
                <a:cubicBezTo>
                  <a:pt x="2063840" y="1772158"/>
                  <a:pt x="2071425" y="1841633"/>
                  <a:pt x="2132019" y="1851161"/>
                </a:cubicBezTo>
                <a:cubicBezTo>
                  <a:pt x="2178643" y="1858469"/>
                  <a:pt x="2242937" y="1820911"/>
                  <a:pt x="2195572" y="1721001"/>
                </a:cubicBezTo>
                <a:cubicBezTo>
                  <a:pt x="2250153" y="1716375"/>
                  <a:pt x="2276610" y="1692138"/>
                  <a:pt x="2286046" y="1674746"/>
                </a:cubicBezTo>
                <a:cubicBezTo>
                  <a:pt x="2272447" y="1660315"/>
                  <a:pt x="2240532" y="1643848"/>
                  <a:pt x="2186692" y="1653469"/>
                </a:cubicBezTo>
                <a:cubicBezTo>
                  <a:pt x="2206674" y="1544679"/>
                  <a:pt x="2134794" y="1525067"/>
                  <a:pt x="2091685" y="1544124"/>
                </a:cubicBezTo>
                <a:cubicBezTo>
                  <a:pt x="2035624" y="1569009"/>
                  <a:pt x="2046263" y="1638113"/>
                  <a:pt x="2124988" y="1603052"/>
                </a:cubicBezTo>
                <a:cubicBezTo>
                  <a:pt x="2162732" y="1693803"/>
                  <a:pt x="2038400" y="1692971"/>
                  <a:pt x="2000748" y="1638483"/>
                </a:cubicBezTo>
                <a:cubicBezTo>
                  <a:pt x="1969295" y="1592783"/>
                  <a:pt x="1957917" y="1522569"/>
                  <a:pt x="1972441" y="1471689"/>
                </a:cubicBezTo>
                <a:cubicBezTo>
                  <a:pt x="1991128" y="1406193"/>
                  <a:pt x="2067817" y="1366136"/>
                  <a:pt x="2108984" y="1497037"/>
                </a:cubicBezTo>
                <a:cubicBezTo>
                  <a:pt x="2113332" y="1510820"/>
                  <a:pt x="2134146" y="1510080"/>
                  <a:pt x="2135904" y="1493706"/>
                </a:cubicBezTo>
                <a:cubicBezTo>
                  <a:pt x="2139604" y="1460311"/>
                  <a:pt x="2130631" y="1434686"/>
                  <a:pt x="2112869" y="1415999"/>
                </a:cubicBezTo>
                <a:cubicBezTo>
                  <a:pt x="2219347" y="1434223"/>
                  <a:pt x="2224620" y="1510080"/>
                  <a:pt x="2239144" y="1522477"/>
                </a:cubicBezTo>
                <a:cubicBezTo>
                  <a:pt x="2246823" y="1529045"/>
                  <a:pt x="2257739" y="1526269"/>
                  <a:pt x="2260976" y="1516556"/>
                </a:cubicBezTo>
                <a:cubicBezTo>
                  <a:pt x="2275223" y="1474187"/>
                  <a:pt x="2236924" y="1392502"/>
                  <a:pt x="2159957" y="1361141"/>
                </a:cubicBezTo>
                <a:cubicBezTo>
                  <a:pt x="2255148" y="1305173"/>
                  <a:pt x="2290764" y="1228946"/>
                  <a:pt x="2302698" y="1172238"/>
                </a:cubicBezTo>
                <a:cubicBezTo>
                  <a:pt x="2247655" y="1154198"/>
                  <a:pt x="2163842" y="1146983"/>
                  <a:pt x="2067817" y="1201378"/>
                </a:cubicBezTo>
                <a:cubicBezTo>
                  <a:pt x="2079104" y="1119045"/>
                  <a:pt x="2027484" y="1045038"/>
                  <a:pt x="1983634" y="1036157"/>
                </a:cubicBezTo>
                <a:cubicBezTo>
                  <a:pt x="1973643" y="1034122"/>
                  <a:pt x="1965780" y="1042170"/>
                  <a:pt x="1967630" y="1052068"/>
                </a:cubicBezTo>
                <a:cubicBezTo>
                  <a:pt x="1971053" y="1070848"/>
                  <a:pt x="2034237" y="1113309"/>
                  <a:pt x="1996678" y="1214699"/>
                </a:cubicBezTo>
                <a:cubicBezTo>
                  <a:pt x="1989370" y="1189999"/>
                  <a:pt x="1971701" y="1169462"/>
                  <a:pt x="1940895" y="1155956"/>
                </a:cubicBezTo>
                <a:cubicBezTo>
                  <a:pt x="1925816" y="1149295"/>
                  <a:pt x="1914808" y="1166965"/>
                  <a:pt x="1924521" y="1177603"/>
                </a:cubicBezTo>
                <a:cubicBezTo>
                  <a:pt x="2017308" y="1278715"/>
                  <a:pt x="1944225" y="1325155"/>
                  <a:pt x="1878174" y="1308503"/>
                </a:cubicBezTo>
                <a:cubicBezTo>
                  <a:pt x="1826831" y="1295645"/>
                  <a:pt x="1771696" y="1250685"/>
                  <a:pt x="1747829" y="1200545"/>
                </a:cubicBezTo>
                <a:cubicBezTo>
                  <a:pt x="1719336" y="1140692"/>
                  <a:pt x="1780854" y="1032642"/>
                  <a:pt x="1840615" y="1110627"/>
                </a:cubicBezTo>
                <a:cubicBezTo>
                  <a:pt x="1770956" y="1161322"/>
                  <a:pt x="1825444" y="1205078"/>
                  <a:pt x="1875029" y="1168907"/>
                </a:cubicBezTo>
                <a:cubicBezTo>
                  <a:pt x="1913142" y="1141155"/>
                  <a:pt x="1932107" y="1068998"/>
                  <a:pt x="1827849" y="1031901"/>
                </a:cubicBezTo>
                <a:cubicBezTo>
                  <a:pt x="1863095" y="990087"/>
                  <a:pt x="1864760" y="954194"/>
                  <a:pt x="1859117" y="935230"/>
                </a:cubicBezTo>
                <a:cubicBezTo>
                  <a:pt x="1839320" y="934674"/>
                  <a:pt x="1805092" y="945498"/>
                  <a:pt x="1773824" y="990457"/>
                </a:cubicBezTo>
                <a:cubicBezTo>
                  <a:pt x="1711010" y="899429"/>
                  <a:pt x="1646254" y="936340"/>
                  <a:pt x="1629325" y="980374"/>
                </a:cubicBezTo>
                <a:cubicBezTo>
                  <a:pt x="1607215" y="1037637"/>
                  <a:pt x="1663646" y="1078896"/>
                  <a:pt x="1694544" y="998506"/>
                </a:cubicBezTo>
                <a:cubicBezTo>
                  <a:pt x="1785387" y="1035972"/>
                  <a:pt x="1696949" y="1123393"/>
                  <a:pt x="1631730" y="1111367"/>
                </a:cubicBezTo>
                <a:cubicBezTo>
                  <a:pt x="1577150" y="1101283"/>
                  <a:pt x="1519517" y="1059654"/>
                  <a:pt x="1493707" y="1013400"/>
                </a:cubicBezTo>
                <a:cubicBezTo>
                  <a:pt x="1460588" y="953916"/>
                  <a:pt x="1486491" y="871306"/>
                  <a:pt x="1608233" y="934767"/>
                </a:cubicBezTo>
                <a:cubicBezTo>
                  <a:pt x="1620999" y="941428"/>
                  <a:pt x="1635153" y="926164"/>
                  <a:pt x="1624884" y="913305"/>
                </a:cubicBezTo>
                <a:cubicBezTo>
                  <a:pt x="1603885" y="887125"/>
                  <a:pt x="1579462" y="875284"/>
                  <a:pt x="1553652" y="874636"/>
                </a:cubicBezTo>
                <a:cubicBezTo>
                  <a:pt x="1641813" y="812193"/>
                  <a:pt x="1699169" y="862147"/>
                  <a:pt x="1718226" y="860667"/>
                </a:cubicBezTo>
                <a:cubicBezTo>
                  <a:pt x="1728309" y="859835"/>
                  <a:pt x="1734045" y="850214"/>
                  <a:pt x="1729420" y="841055"/>
                </a:cubicBezTo>
                <a:cubicBezTo>
                  <a:pt x="1709530" y="801092"/>
                  <a:pt x="1624699" y="770379"/>
                  <a:pt x="1548102" y="802572"/>
                </a:cubicBezTo>
                <a:cubicBezTo>
                  <a:pt x="1562903" y="745586"/>
                  <a:pt x="1561608" y="696464"/>
                  <a:pt x="1552450" y="655667"/>
                </a:cubicBezTo>
                <a:cubicBezTo>
                  <a:pt x="1510728" y="653725"/>
                  <a:pt x="1462161" y="660940"/>
                  <a:pt x="1408506" y="685455"/>
                </a:cubicBezTo>
                <a:cubicBezTo>
                  <a:pt x="1426915" y="604510"/>
                  <a:pt x="1381956" y="526247"/>
                  <a:pt x="1339124" y="513574"/>
                </a:cubicBezTo>
                <a:cubicBezTo>
                  <a:pt x="1329318" y="510706"/>
                  <a:pt x="1320807" y="517921"/>
                  <a:pt x="1321732" y="528005"/>
                </a:cubicBezTo>
                <a:cubicBezTo>
                  <a:pt x="1323490" y="547062"/>
                  <a:pt x="1382696" y="594889"/>
                  <a:pt x="1336534" y="692486"/>
                </a:cubicBezTo>
                <a:cubicBezTo>
                  <a:pt x="1331446" y="667231"/>
                  <a:pt x="1315627" y="645214"/>
                  <a:pt x="1286116" y="629117"/>
                </a:cubicBezTo>
                <a:cubicBezTo>
                  <a:pt x="1271685" y="621161"/>
                  <a:pt x="1259104" y="637813"/>
                  <a:pt x="1267892" y="649192"/>
                </a:cubicBezTo>
                <a:cubicBezTo>
                  <a:pt x="1351520" y="758075"/>
                  <a:pt x="1274645" y="797854"/>
                  <a:pt x="1210351" y="775652"/>
                </a:cubicBezTo>
                <a:cubicBezTo>
                  <a:pt x="1160304" y="758352"/>
                  <a:pt x="1109239" y="708768"/>
                  <a:pt x="1089905" y="656777"/>
                </a:cubicBezTo>
                <a:cubicBezTo>
                  <a:pt x="1066778" y="594704"/>
                  <a:pt x="1137454" y="492389"/>
                  <a:pt x="1190092" y="575370"/>
                </a:cubicBezTo>
                <a:cubicBezTo>
                  <a:pt x="1116270" y="619774"/>
                  <a:pt x="1166780" y="668156"/>
                  <a:pt x="1219325" y="636425"/>
                </a:cubicBezTo>
                <a:cubicBezTo>
                  <a:pt x="1259751" y="612096"/>
                  <a:pt x="1284821" y="541881"/>
                  <a:pt x="1184264" y="495904"/>
                </a:cubicBezTo>
                <a:cubicBezTo>
                  <a:pt x="1223025" y="457328"/>
                  <a:pt x="1227836" y="421712"/>
                  <a:pt x="1223858" y="402285"/>
                </a:cubicBezTo>
                <a:cubicBezTo>
                  <a:pt x="1204153" y="399972"/>
                  <a:pt x="1169185" y="407836"/>
                  <a:pt x="1134032" y="449835"/>
                </a:cubicBezTo>
                <a:cubicBezTo>
                  <a:pt x="1079359" y="353718"/>
                  <a:pt x="1011735" y="384801"/>
                  <a:pt x="990920" y="427170"/>
                </a:cubicBezTo>
                <a:cubicBezTo>
                  <a:pt x="963907" y="482305"/>
                  <a:pt x="1016545" y="528375"/>
                  <a:pt x="1054289" y="450945"/>
                </a:cubicBezTo>
                <a:cubicBezTo>
                  <a:pt x="1141525" y="496182"/>
                  <a:pt x="1045778" y="575555"/>
                  <a:pt x="981854" y="557885"/>
                </a:cubicBezTo>
                <a:cubicBezTo>
                  <a:pt x="928477" y="543269"/>
                  <a:pt x="874636" y="496829"/>
                  <a:pt x="852989" y="448447"/>
                </a:cubicBezTo>
                <a:cubicBezTo>
                  <a:pt x="825236" y="386281"/>
                  <a:pt x="858170" y="306261"/>
                  <a:pt x="973898" y="380083"/>
                </a:cubicBezTo>
                <a:cubicBezTo>
                  <a:pt x="986017" y="387854"/>
                  <a:pt x="1001559" y="373885"/>
                  <a:pt x="992400" y="360194"/>
                </a:cubicBezTo>
                <a:cubicBezTo>
                  <a:pt x="973713" y="332256"/>
                  <a:pt x="950401" y="318380"/>
                  <a:pt x="924869" y="315512"/>
                </a:cubicBezTo>
                <a:cubicBezTo>
                  <a:pt x="1018118" y="261024"/>
                  <a:pt x="1070940" y="315789"/>
                  <a:pt x="1089997" y="315882"/>
                </a:cubicBezTo>
                <a:cubicBezTo>
                  <a:pt x="1100081" y="315974"/>
                  <a:pt x="1106649" y="306816"/>
                  <a:pt x="1102856" y="297288"/>
                </a:cubicBezTo>
                <a:cubicBezTo>
                  <a:pt x="1086574" y="255751"/>
                  <a:pt x="1004704" y="217730"/>
                  <a:pt x="925609" y="243077"/>
                </a:cubicBezTo>
                <a:cubicBezTo>
                  <a:pt x="962520" y="139005"/>
                  <a:pt x="940873" y="57782"/>
                  <a:pt x="913490" y="6717"/>
                </a:cubicBezTo>
                <a:cubicBezTo>
                  <a:pt x="859835" y="28271"/>
                  <a:pt x="790916" y="76561"/>
                  <a:pt x="752339" y="180079"/>
                </a:cubicBezTo>
                <a:cubicBezTo>
                  <a:pt x="708120" y="109772"/>
                  <a:pt x="620977" y="86274"/>
                  <a:pt x="581753" y="107644"/>
                </a:cubicBezTo>
                <a:cubicBezTo>
                  <a:pt x="572779" y="112547"/>
                  <a:pt x="571947" y="123741"/>
                  <a:pt x="579718" y="130124"/>
                </a:cubicBezTo>
                <a:cubicBezTo>
                  <a:pt x="594426" y="142335"/>
                  <a:pt x="670099" y="134287"/>
                  <a:pt x="706455" y="235954"/>
                </a:cubicBezTo>
                <a:cubicBezTo>
                  <a:pt x="684993" y="221708"/>
                  <a:pt x="658165" y="217360"/>
                  <a:pt x="625972" y="226796"/>
                </a:cubicBezTo>
                <a:cubicBezTo>
                  <a:pt x="610153" y="231421"/>
                  <a:pt x="613021" y="252051"/>
                  <a:pt x="627360" y="253901"/>
                </a:cubicBezTo>
                <a:cubicBezTo>
                  <a:pt x="763440" y="271755"/>
                  <a:pt x="737260" y="354273"/>
                  <a:pt x="676019" y="383968"/>
                </a:cubicBezTo>
                <a:cubicBezTo>
                  <a:pt x="628377" y="407096"/>
                  <a:pt x="557238" y="408113"/>
                  <a:pt x="506820" y="385079"/>
                </a:cubicBezTo>
                <a:cubicBezTo>
                  <a:pt x="446597" y="357511"/>
                  <a:pt x="424210" y="235214"/>
                  <a:pt x="520142" y="256584"/>
                </a:cubicBezTo>
                <a:cubicBezTo>
                  <a:pt x="499327" y="340212"/>
                  <a:pt x="569264" y="338732"/>
                  <a:pt x="583973" y="279156"/>
                </a:cubicBezTo>
                <a:cubicBezTo>
                  <a:pt x="595352" y="233364"/>
                  <a:pt x="563436" y="166017"/>
                  <a:pt x="459826" y="204501"/>
                </a:cubicBezTo>
                <a:cubicBezTo>
                  <a:pt x="459918" y="149736"/>
                  <a:pt x="438179" y="121243"/>
                  <a:pt x="421620" y="110327"/>
                </a:cubicBezTo>
                <a:cubicBezTo>
                  <a:pt x="406078" y="122631"/>
                  <a:pt x="386836" y="152881"/>
                  <a:pt x="391739" y="207461"/>
                </a:cubicBezTo>
                <a:cubicBezTo>
                  <a:pt x="285076" y="178043"/>
                  <a:pt x="259266" y="247980"/>
                  <a:pt x="274530" y="292662"/>
                </a:cubicBezTo>
                <a:cubicBezTo>
                  <a:pt x="294420" y="350758"/>
                  <a:pt x="364172" y="346132"/>
                  <a:pt x="336141" y="264632"/>
                </a:cubicBezTo>
                <a:cubicBezTo>
                  <a:pt x="429760" y="234936"/>
                  <a:pt x="418197" y="358713"/>
                  <a:pt x="360564" y="391462"/>
                </a:cubicBezTo>
                <a:cubicBezTo>
                  <a:pt x="312367" y="418844"/>
                  <a:pt x="241320" y="424025"/>
                  <a:pt x="191920" y="405153"/>
                </a:cubicBezTo>
                <a:cubicBezTo>
                  <a:pt x="128366" y="380823"/>
                  <a:pt x="95063" y="300988"/>
                  <a:pt x="229108" y="271292"/>
                </a:cubicBezTo>
                <a:cubicBezTo>
                  <a:pt x="243170" y="268147"/>
                  <a:pt x="244280" y="247425"/>
                  <a:pt x="228091" y="244187"/>
                </a:cubicBezTo>
                <a:cubicBezTo>
                  <a:pt x="195158" y="237619"/>
                  <a:pt x="168885" y="244280"/>
                  <a:pt x="148718" y="260376"/>
                </a:cubicBezTo>
                <a:cubicBezTo>
                  <a:pt x="176101" y="155841"/>
                  <a:pt x="252143" y="157321"/>
                  <a:pt x="265742" y="143815"/>
                </a:cubicBezTo>
                <a:cubicBezTo>
                  <a:pt x="272958" y="136692"/>
                  <a:pt x="271107" y="125683"/>
                  <a:pt x="261764" y="121613"/>
                </a:cubicBezTo>
                <a:cubicBezTo>
                  <a:pt x="220783" y="103759"/>
                  <a:pt x="136044" y="134749"/>
                  <a:pt x="98116" y="208664"/>
                </a:cubicBezTo>
                <a:cubicBezTo>
                  <a:pt x="72676" y="155471"/>
                  <a:pt x="40112" y="118653"/>
                  <a:pt x="6902" y="93305"/>
                </a:cubicBezTo>
                <a:lnTo>
                  <a:pt x="6902" y="155009"/>
                </a:lnTo>
                <a:cubicBezTo>
                  <a:pt x="12545" y="161114"/>
                  <a:pt x="17910" y="167590"/>
                  <a:pt x="23091" y="174528"/>
                </a:cubicBezTo>
                <a:cubicBezTo>
                  <a:pt x="28271" y="181374"/>
                  <a:pt x="33267" y="188682"/>
                  <a:pt x="37892" y="196268"/>
                </a:cubicBezTo>
                <a:cubicBezTo>
                  <a:pt x="65830" y="242152"/>
                  <a:pt x="83037" y="302190"/>
                  <a:pt x="76284" y="380453"/>
                </a:cubicBezTo>
                <a:cubicBezTo>
                  <a:pt x="76284" y="380453"/>
                  <a:pt x="76284" y="380453"/>
                  <a:pt x="76284" y="380453"/>
                </a:cubicBezTo>
                <a:cubicBezTo>
                  <a:pt x="76284" y="380453"/>
                  <a:pt x="76284" y="380453"/>
                  <a:pt x="76284" y="380453"/>
                </a:cubicBezTo>
                <a:cubicBezTo>
                  <a:pt x="56579" y="366669"/>
                  <a:pt x="39742" y="352145"/>
                  <a:pt x="25219" y="337251"/>
                </a:cubicBezTo>
                <a:cubicBezTo>
                  <a:pt x="22628" y="334661"/>
                  <a:pt x="20131" y="331978"/>
                  <a:pt x="17725" y="329388"/>
                </a:cubicBezTo>
                <a:cubicBezTo>
                  <a:pt x="13932" y="325225"/>
                  <a:pt x="10325" y="321062"/>
                  <a:pt x="6809" y="316899"/>
                </a:cubicBezTo>
                <a:lnTo>
                  <a:pt x="6809" y="400528"/>
                </a:lnTo>
                <a:cubicBezTo>
                  <a:pt x="27716" y="417272"/>
                  <a:pt x="32157" y="452703"/>
                  <a:pt x="20963" y="484896"/>
                </a:cubicBezTo>
                <a:cubicBezTo>
                  <a:pt x="17448" y="494979"/>
                  <a:pt x="12637" y="505155"/>
                  <a:pt x="6809" y="515054"/>
                </a:cubicBezTo>
                <a:lnTo>
                  <a:pt x="6809" y="635870"/>
                </a:lnTo>
                <a:cubicBezTo>
                  <a:pt x="27809" y="616629"/>
                  <a:pt x="61852" y="599977"/>
                  <a:pt x="111807" y="602382"/>
                </a:cubicBezTo>
                <a:cubicBezTo>
                  <a:pt x="126886" y="603122"/>
                  <a:pt x="139560" y="594334"/>
                  <a:pt x="121705" y="575277"/>
                </a:cubicBezTo>
                <a:cubicBezTo>
                  <a:pt x="113842" y="566951"/>
                  <a:pt x="88217" y="555665"/>
                  <a:pt x="61482" y="560383"/>
                </a:cubicBezTo>
                <a:cubicBezTo>
                  <a:pt x="77024" y="534666"/>
                  <a:pt x="86737" y="504045"/>
                  <a:pt x="88217" y="473702"/>
                </a:cubicBezTo>
                <a:cubicBezTo>
                  <a:pt x="93860" y="481103"/>
                  <a:pt x="99318" y="487671"/>
                  <a:pt x="104591" y="493592"/>
                </a:cubicBezTo>
                <a:cubicBezTo>
                  <a:pt x="120225" y="511261"/>
                  <a:pt x="133917" y="522362"/>
                  <a:pt x="145388" y="528745"/>
                </a:cubicBezTo>
                <a:cubicBezTo>
                  <a:pt x="148348" y="513666"/>
                  <a:pt x="148163" y="492204"/>
                  <a:pt x="142705" y="462694"/>
                </a:cubicBezTo>
                <a:cubicBezTo>
                  <a:pt x="141872" y="458438"/>
                  <a:pt x="141040" y="454090"/>
                  <a:pt x="140022" y="449557"/>
                </a:cubicBezTo>
                <a:cubicBezTo>
                  <a:pt x="164260" y="467967"/>
                  <a:pt x="193955" y="480178"/>
                  <a:pt x="223650" y="484803"/>
                </a:cubicBezTo>
                <a:cubicBezTo>
                  <a:pt x="202836" y="502287"/>
                  <a:pt x="195065" y="529115"/>
                  <a:pt x="196360" y="540586"/>
                </a:cubicBezTo>
                <a:cubicBezTo>
                  <a:pt x="199413" y="566581"/>
                  <a:pt x="214307" y="562511"/>
                  <a:pt x="223465" y="550485"/>
                </a:cubicBezTo>
                <a:cubicBezTo>
                  <a:pt x="272958" y="485173"/>
                  <a:pt x="334476" y="485636"/>
                  <a:pt x="359916" y="495442"/>
                </a:cubicBezTo>
                <a:cubicBezTo>
                  <a:pt x="402100" y="511723"/>
                  <a:pt x="428835" y="567599"/>
                  <a:pt x="416069" y="609505"/>
                </a:cubicBezTo>
                <a:cubicBezTo>
                  <a:pt x="373885" y="747621"/>
                  <a:pt x="224483" y="615148"/>
                  <a:pt x="355476" y="613946"/>
                </a:cubicBezTo>
                <a:cubicBezTo>
                  <a:pt x="391184" y="613668"/>
                  <a:pt x="391277" y="563806"/>
                  <a:pt x="361396" y="548912"/>
                </a:cubicBezTo>
                <a:cubicBezTo>
                  <a:pt x="321432" y="528930"/>
                  <a:pt x="270737" y="557515"/>
                  <a:pt x="248073" y="592206"/>
                </a:cubicBezTo>
                <a:cubicBezTo>
                  <a:pt x="217267" y="639386"/>
                  <a:pt x="257509" y="778057"/>
                  <a:pt x="405061" y="710155"/>
                </a:cubicBezTo>
                <a:cubicBezTo>
                  <a:pt x="404691" y="724587"/>
                  <a:pt x="406726" y="738648"/>
                  <a:pt x="410519" y="752154"/>
                </a:cubicBezTo>
                <a:cubicBezTo>
                  <a:pt x="418752" y="781757"/>
                  <a:pt x="435311" y="808400"/>
                  <a:pt x="452888" y="829769"/>
                </a:cubicBezTo>
                <a:cubicBezTo>
                  <a:pt x="467134" y="809047"/>
                  <a:pt x="480178" y="783977"/>
                  <a:pt x="486653" y="756872"/>
                </a:cubicBezTo>
                <a:cubicBezTo>
                  <a:pt x="490539" y="740591"/>
                  <a:pt x="492112" y="723661"/>
                  <a:pt x="490169" y="706362"/>
                </a:cubicBezTo>
                <a:cubicBezTo>
                  <a:pt x="643086" y="761220"/>
                  <a:pt x="671024" y="619589"/>
                  <a:pt x="636241" y="575277"/>
                </a:cubicBezTo>
                <a:cubicBezTo>
                  <a:pt x="610616" y="542714"/>
                  <a:pt x="557700" y="518662"/>
                  <a:pt x="519587" y="542066"/>
                </a:cubicBezTo>
                <a:cubicBezTo>
                  <a:pt x="491094" y="559551"/>
                  <a:pt x="495534" y="609135"/>
                  <a:pt x="531150" y="606360"/>
                </a:cubicBezTo>
                <a:cubicBezTo>
                  <a:pt x="661681" y="596092"/>
                  <a:pt x="524397" y="741146"/>
                  <a:pt x="470372" y="607193"/>
                </a:cubicBezTo>
                <a:cubicBezTo>
                  <a:pt x="453998" y="566581"/>
                  <a:pt x="475737" y="508486"/>
                  <a:pt x="516349" y="488689"/>
                </a:cubicBezTo>
                <a:cubicBezTo>
                  <a:pt x="540771" y="476755"/>
                  <a:pt x="602012" y="470927"/>
                  <a:pt x="657055" y="531705"/>
                </a:cubicBezTo>
                <a:cubicBezTo>
                  <a:pt x="667139" y="542899"/>
                  <a:pt x="682403" y="545674"/>
                  <a:pt x="683143" y="519494"/>
                </a:cubicBezTo>
                <a:cubicBezTo>
                  <a:pt x="683513" y="508023"/>
                  <a:pt x="673337" y="481935"/>
                  <a:pt x="651135" y="466301"/>
                </a:cubicBezTo>
                <a:cubicBezTo>
                  <a:pt x="680275" y="459086"/>
                  <a:pt x="708860" y="444377"/>
                  <a:pt x="731432" y="423932"/>
                </a:cubicBezTo>
                <a:cubicBezTo>
                  <a:pt x="726529" y="460843"/>
                  <a:pt x="728102" y="486376"/>
                  <a:pt x="732913" y="503213"/>
                </a:cubicBezTo>
                <a:cubicBezTo>
                  <a:pt x="747529" y="493407"/>
                  <a:pt x="765106" y="474905"/>
                  <a:pt x="785088" y="443452"/>
                </a:cubicBezTo>
                <a:cubicBezTo>
                  <a:pt x="789250" y="473610"/>
                  <a:pt x="801647" y="503213"/>
                  <a:pt x="819316" y="527542"/>
                </a:cubicBezTo>
                <a:cubicBezTo>
                  <a:pt x="792211" y="525230"/>
                  <a:pt x="767696" y="538643"/>
                  <a:pt x="760573" y="547709"/>
                </a:cubicBezTo>
                <a:cubicBezTo>
                  <a:pt x="744384" y="568246"/>
                  <a:pt x="757797" y="575925"/>
                  <a:pt x="772784" y="573797"/>
                </a:cubicBezTo>
                <a:cubicBezTo>
                  <a:pt x="854007" y="562603"/>
                  <a:pt x="897116" y="606453"/>
                  <a:pt x="908217" y="631337"/>
                </a:cubicBezTo>
                <a:cubicBezTo>
                  <a:pt x="926534" y="672689"/>
                  <a:pt x="905904" y="731155"/>
                  <a:pt x="867236" y="751692"/>
                </a:cubicBezTo>
                <a:cubicBezTo>
                  <a:pt x="739758" y="819593"/>
                  <a:pt x="727732" y="620236"/>
                  <a:pt x="821166" y="712005"/>
                </a:cubicBezTo>
                <a:cubicBezTo>
                  <a:pt x="846699" y="737075"/>
                  <a:pt x="881944" y="701922"/>
                  <a:pt x="871398" y="670191"/>
                </a:cubicBezTo>
                <a:cubicBezTo>
                  <a:pt x="857245" y="627822"/>
                  <a:pt x="801184" y="612188"/>
                  <a:pt x="760665" y="620699"/>
                </a:cubicBezTo>
                <a:cubicBezTo>
                  <a:pt x="705530" y="631893"/>
                  <a:pt x="635963" y="758352"/>
                  <a:pt x="788325" y="814598"/>
                </a:cubicBezTo>
                <a:cubicBezTo>
                  <a:pt x="775744" y="826531"/>
                  <a:pt x="766031" y="840593"/>
                  <a:pt x="758537" y="855487"/>
                </a:cubicBezTo>
                <a:cubicBezTo>
                  <a:pt x="746141" y="880372"/>
                  <a:pt x="739943" y="907939"/>
                  <a:pt x="737538" y="933009"/>
                </a:cubicBezTo>
                <a:cubicBezTo>
                  <a:pt x="767233" y="927459"/>
                  <a:pt x="800074" y="916358"/>
                  <a:pt x="826717" y="895821"/>
                </a:cubicBezTo>
                <a:cubicBezTo>
                  <a:pt x="835597" y="888975"/>
                  <a:pt x="843831" y="881112"/>
                  <a:pt x="851046" y="872138"/>
                </a:cubicBezTo>
                <a:cubicBezTo>
                  <a:pt x="920336" y="1019043"/>
                  <a:pt x="1040320" y="938652"/>
                  <a:pt x="1047073" y="882684"/>
                </a:cubicBezTo>
                <a:cubicBezTo>
                  <a:pt x="1052069" y="841518"/>
                  <a:pt x="1031624" y="787123"/>
                  <a:pt x="988052" y="776669"/>
                </a:cubicBezTo>
                <a:cubicBezTo>
                  <a:pt x="955489" y="768898"/>
                  <a:pt x="923574" y="807105"/>
                  <a:pt x="950771" y="830324"/>
                </a:cubicBezTo>
                <a:cubicBezTo>
                  <a:pt x="1050311" y="915433"/>
                  <a:pt x="850676" y="920798"/>
                  <a:pt x="907199" y="787955"/>
                </a:cubicBezTo>
                <a:cubicBezTo>
                  <a:pt x="924314" y="747621"/>
                  <a:pt x="980837" y="721996"/>
                  <a:pt x="1023576" y="736613"/>
                </a:cubicBezTo>
                <a:cubicBezTo>
                  <a:pt x="1049293" y="745401"/>
                  <a:pt x="1096750" y="784625"/>
                  <a:pt x="1092680" y="866495"/>
                </a:cubicBezTo>
                <a:cubicBezTo>
                  <a:pt x="1091940" y="881574"/>
                  <a:pt x="1100728" y="894248"/>
                  <a:pt x="1119785" y="876394"/>
                </a:cubicBezTo>
                <a:cubicBezTo>
                  <a:pt x="1128111" y="868531"/>
                  <a:pt x="1139397" y="842906"/>
                  <a:pt x="1134679" y="816170"/>
                </a:cubicBezTo>
                <a:cubicBezTo>
                  <a:pt x="1160397" y="831712"/>
                  <a:pt x="1191017" y="841425"/>
                  <a:pt x="1221360" y="842906"/>
                </a:cubicBezTo>
                <a:cubicBezTo>
                  <a:pt x="1213959" y="848549"/>
                  <a:pt x="1207391" y="854007"/>
                  <a:pt x="1201471" y="859280"/>
                </a:cubicBezTo>
                <a:cubicBezTo>
                  <a:pt x="1183801" y="874914"/>
                  <a:pt x="1172700" y="888605"/>
                  <a:pt x="1166317" y="900076"/>
                </a:cubicBezTo>
                <a:cubicBezTo>
                  <a:pt x="1179269" y="902666"/>
                  <a:pt x="1196845" y="902851"/>
                  <a:pt x="1220157" y="899429"/>
                </a:cubicBezTo>
                <a:cubicBezTo>
                  <a:pt x="1227928" y="898318"/>
                  <a:pt x="1236346" y="896746"/>
                  <a:pt x="1245412" y="894711"/>
                </a:cubicBezTo>
                <a:cubicBezTo>
                  <a:pt x="1227003" y="918948"/>
                  <a:pt x="1214792" y="948643"/>
                  <a:pt x="1210167" y="978339"/>
                </a:cubicBezTo>
                <a:cubicBezTo>
                  <a:pt x="1192682" y="957524"/>
                  <a:pt x="1165855" y="949753"/>
                  <a:pt x="1154476" y="951049"/>
                </a:cubicBezTo>
                <a:cubicBezTo>
                  <a:pt x="1128481" y="954101"/>
                  <a:pt x="1132644" y="968995"/>
                  <a:pt x="1144578" y="978154"/>
                </a:cubicBezTo>
                <a:cubicBezTo>
                  <a:pt x="1184449" y="1008404"/>
                  <a:pt x="1199805" y="1043095"/>
                  <a:pt x="1203506" y="1071310"/>
                </a:cubicBezTo>
                <a:cubicBezTo>
                  <a:pt x="1231906" y="1070015"/>
                  <a:pt x="1268725" y="1079174"/>
                  <a:pt x="1305451" y="1113124"/>
                </a:cubicBezTo>
                <a:cubicBezTo>
                  <a:pt x="1316552" y="1123393"/>
                  <a:pt x="1331908" y="1124780"/>
                  <a:pt x="1330428" y="1098693"/>
                </a:cubicBezTo>
                <a:cubicBezTo>
                  <a:pt x="1329781" y="1087222"/>
                  <a:pt x="1317384" y="1062152"/>
                  <a:pt x="1293887" y="1048553"/>
                </a:cubicBezTo>
                <a:cubicBezTo>
                  <a:pt x="1322287" y="1038840"/>
                  <a:pt x="1349392" y="1021633"/>
                  <a:pt x="1370115" y="999338"/>
                </a:cubicBezTo>
                <a:cubicBezTo>
                  <a:pt x="1369930" y="1003964"/>
                  <a:pt x="1369745" y="1008497"/>
                  <a:pt x="1369745" y="1012752"/>
                </a:cubicBezTo>
                <a:cubicBezTo>
                  <a:pt x="1369467" y="1042725"/>
                  <a:pt x="1372982" y="1063910"/>
                  <a:pt x="1378533" y="1078248"/>
                </a:cubicBezTo>
                <a:cubicBezTo>
                  <a:pt x="1390467" y="1068628"/>
                  <a:pt x="1404158" y="1052068"/>
                  <a:pt x="1418867" y="1025981"/>
                </a:cubicBezTo>
                <a:cubicBezTo>
                  <a:pt x="1420995" y="1022280"/>
                  <a:pt x="1423122" y="1018303"/>
                  <a:pt x="1425250" y="1014140"/>
                </a:cubicBezTo>
                <a:cubicBezTo>
                  <a:pt x="1432003" y="1043835"/>
                  <a:pt x="1446897" y="1072235"/>
                  <a:pt x="1466694" y="1094900"/>
                </a:cubicBezTo>
                <a:cubicBezTo>
                  <a:pt x="1439496" y="1094900"/>
                  <a:pt x="1416277" y="1110442"/>
                  <a:pt x="1409986" y="1120063"/>
                </a:cubicBezTo>
                <a:cubicBezTo>
                  <a:pt x="1395647" y="1141895"/>
                  <a:pt x="1409708" y="1148370"/>
                  <a:pt x="1424417" y="1145040"/>
                </a:cubicBezTo>
                <a:cubicBezTo>
                  <a:pt x="1504345" y="1126816"/>
                  <a:pt x="1551155" y="1166687"/>
                  <a:pt x="1564291" y="1190554"/>
                </a:cubicBezTo>
                <a:cubicBezTo>
                  <a:pt x="1586123" y="1230148"/>
                  <a:pt x="1570674" y="1290187"/>
                  <a:pt x="1533948" y="1314054"/>
                </a:cubicBezTo>
                <a:cubicBezTo>
                  <a:pt x="1412854" y="1392779"/>
                  <a:pt x="1383528" y="1195272"/>
                  <a:pt x="1484641" y="1278530"/>
                </a:cubicBezTo>
                <a:cubicBezTo>
                  <a:pt x="1512208" y="1301288"/>
                  <a:pt x="1544309" y="1263174"/>
                  <a:pt x="1530988" y="1232461"/>
                </a:cubicBezTo>
                <a:cubicBezTo>
                  <a:pt x="1513226" y="1191480"/>
                  <a:pt x="1456055" y="1180748"/>
                  <a:pt x="1416369" y="1192775"/>
                </a:cubicBezTo>
                <a:cubicBezTo>
                  <a:pt x="1362436" y="1209149"/>
                  <a:pt x="1304156" y="1341251"/>
                  <a:pt x="1460866" y="1383991"/>
                </a:cubicBezTo>
                <a:cubicBezTo>
                  <a:pt x="1449395" y="1397034"/>
                  <a:pt x="1440884" y="1411836"/>
                  <a:pt x="1434778" y="1427377"/>
                </a:cubicBezTo>
                <a:cubicBezTo>
                  <a:pt x="1424602" y="1453280"/>
                  <a:pt x="1420809" y="1481218"/>
                  <a:pt x="1420625" y="1506380"/>
                </a:cubicBezTo>
                <a:cubicBezTo>
                  <a:pt x="1444862" y="1499627"/>
                  <a:pt x="1470949" y="1488803"/>
                  <a:pt x="1493336" y="1472244"/>
                </a:cubicBezTo>
                <a:cubicBezTo>
                  <a:pt x="1502310" y="1465584"/>
                  <a:pt x="1510636" y="1458090"/>
                  <a:pt x="1518037" y="1449487"/>
                </a:cubicBezTo>
                <a:cubicBezTo>
                  <a:pt x="1521737" y="1445232"/>
                  <a:pt x="1525252" y="1440699"/>
                  <a:pt x="1528397" y="1435796"/>
                </a:cubicBezTo>
                <a:cubicBezTo>
                  <a:pt x="1610268" y="1576039"/>
                  <a:pt x="1722759" y="1485566"/>
                  <a:pt x="1724609" y="1429228"/>
                </a:cubicBezTo>
                <a:cubicBezTo>
                  <a:pt x="1725997" y="1387783"/>
                  <a:pt x="1700834" y="1335331"/>
                  <a:pt x="1656615" y="1328763"/>
                </a:cubicBezTo>
                <a:cubicBezTo>
                  <a:pt x="1623497" y="1323860"/>
                  <a:pt x="1595004" y="1364749"/>
                  <a:pt x="1624144" y="1385471"/>
                </a:cubicBezTo>
                <a:cubicBezTo>
                  <a:pt x="1730715" y="1461513"/>
                  <a:pt x="1532375" y="1484363"/>
                  <a:pt x="1577057" y="1346987"/>
                </a:cubicBezTo>
                <a:cubicBezTo>
                  <a:pt x="1590656" y="1305358"/>
                  <a:pt x="1644589" y="1274830"/>
                  <a:pt x="1688531" y="1285746"/>
                </a:cubicBezTo>
                <a:cubicBezTo>
                  <a:pt x="1714896" y="1292314"/>
                  <a:pt x="1765591" y="1327190"/>
                  <a:pt x="1768643" y="1409061"/>
                </a:cubicBezTo>
                <a:cubicBezTo>
                  <a:pt x="1769198" y="1424140"/>
                  <a:pt x="1779097" y="1436073"/>
                  <a:pt x="1796489" y="1416554"/>
                </a:cubicBezTo>
                <a:cubicBezTo>
                  <a:pt x="1804074" y="1407951"/>
                  <a:pt x="1813140" y="1381493"/>
                  <a:pt x="1806110" y="1355220"/>
                </a:cubicBezTo>
                <a:cubicBezTo>
                  <a:pt x="1833122" y="1368449"/>
                  <a:pt x="1864390" y="1375480"/>
                  <a:pt x="1894826" y="1374370"/>
                </a:cubicBezTo>
                <a:cubicBezTo>
                  <a:pt x="1867350" y="1399532"/>
                  <a:pt x="1852087" y="1420069"/>
                  <a:pt x="1844963" y="1436073"/>
                </a:cubicBezTo>
                <a:cubicBezTo>
                  <a:pt x="1862448" y="1437923"/>
                  <a:pt x="1887795" y="1435056"/>
                  <a:pt x="1923318" y="1423769"/>
                </a:cubicBezTo>
                <a:cubicBezTo>
                  <a:pt x="1907129" y="1449580"/>
                  <a:pt x="1897508" y="1480200"/>
                  <a:pt x="1895566" y="1510173"/>
                </a:cubicBezTo>
                <a:cubicBezTo>
                  <a:pt x="1876324" y="1490931"/>
                  <a:pt x="1848849" y="1485566"/>
                  <a:pt x="1837655" y="1487878"/>
                </a:cubicBezTo>
                <a:cubicBezTo>
                  <a:pt x="1812030" y="1493151"/>
                  <a:pt x="1817396" y="1507675"/>
                  <a:pt x="1830162" y="1515723"/>
                </a:cubicBezTo>
                <a:cubicBezTo>
                  <a:pt x="1899544" y="1559388"/>
                  <a:pt x="1904447" y="1620721"/>
                  <a:pt x="1896953" y="1646809"/>
                </a:cubicBezTo>
                <a:cubicBezTo>
                  <a:pt x="1884465" y="1690288"/>
                  <a:pt x="1831087" y="1721741"/>
                  <a:pt x="1788163" y="1712675"/>
                </a:cubicBezTo>
                <a:cubicBezTo>
                  <a:pt x="1646901" y="1682702"/>
                  <a:pt x="1765868" y="1522292"/>
                  <a:pt x="1778449" y="1652729"/>
                </a:cubicBezTo>
                <a:cubicBezTo>
                  <a:pt x="1781872" y="1688345"/>
                  <a:pt x="1831457" y="1684090"/>
                  <a:pt x="1843761" y="1653007"/>
                </a:cubicBezTo>
                <a:cubicBezTo>
                  <a:pt x="1860227" y="1611470"/>
                  <a:pt x="1827294" y="1563458"/>
                  <a:pt x="1790753" y="1543939"/>
                </a:cubicBezTo>
                <a:cubicBezTo>
                  <a:pt x="1741076" y="1517389"/>
                  <a:pt x="1606383" y="1569564"/>
                  <a:pt x="1686958" y="1710547"/>
                </a:cubicBezTo>
                <a:cubicBezTo>
                  <a:pt x="1669659" y="1711658"/>
                  <a:pt x="1653192" y="1716098"/>
                  <a:pt x="1637836" y="1722759"/>
                </a:cubicBezTo>
                <a:cubicBezTo>
                  <a:pt x="1612303" y="1733860"/>
                  <a:pt x="1589916" y="1750974"/>
                  <a:pt x="1571969" y="1768643"/>
                </a:cubicBezTo>
                <a:cubicBezTo>
                  <a:pt x="1593894" y="1781039"/>
                  <a:pt x="1619981" y="1791770"/>
                  <a:pt x="1647457" y="1795933"/>
                </a:cubicBezTo>
                <a:cubicBezTo>
                  <a:pt x="1664016" y="1798431"/>
                  <a:pt x="1681037" y="1798431"/>
                  <a:pt x="1698059" y="1795008"/>
                </a:cubicBezTo>
                <a:cubicBezTo>
                  <a:pt x="1656707" y="1952088"/>
                  <a:pt x="1800281" y="1967630"/>
                  <a:pt x="1841448" y="1929146"/>
                </a:cubicBezTo>
                <a:cubicBezTo>
                  <a:pt x="1871698" y="1900838"/>
                  <a:pt x="1891033" y="1845981"/>
                  <a:pt x="1864390" y="1809995"/>
                </a:cubicBezTo>
                <a:cubicBezTo>
                  <a:pt x="1844501" y="1783167"/>
                  <a:pt x="1795471" y="1791863"/>
                  <a:pt x="1801299" y="1827109"/>
                </a:cubicBezTo>
                <a:cubicBezTo>
                  <a:pt x="1822854" y="1956251"/>
                  <a:pt x="1666513" y="1832104"/>
                  <a:pt x="1795193" y="1766608"/>
                </a:cubicBezTo>
                <a:cubicBezTo>
                  <a:pt x="1834232" y="1746718"/>
                  <a:pt x="1893993" y="1763370"/>
                  <a:pt x="1917305" y="1802131"/>
                </a:cubicBezTo>
                <a:cubicBezTo>
                  <a:pt x="1931367" y="1825444"/>
                  <a:pt x="1942468" y="1885944"/>
                  <a:pt x="1886777" y="1945983"/>
                </a:cubicBezTo>
                <a:cubicBezTo>
                  <a:pt x="1876509" y="1957084"/>
                  <a:pt x="1875121" y="1972440"/>
                  <a:pt x="1901209" y="1970960"/>
                </a:cubicBezTo>
                <a:cubicBezTo>
                  <a:pt x="1912680" y="1970313"/>
                  <a:pt x="1937750" y="1957916"/>
                  <a:pt x="1951349" y="1934419"/>
                </a:cubicBezTo>
                <a:cubicBezTo>
                  <a:pt x="1961062" y="1962819"/>
                  <a:pt x="1978269" y="1989925"/>
                  <a:pt x="2000563" y="2010647"/>
                </a:cubicBezTo>
                <a:cubicBezTo>
                  <a:pt x="1991220" y="2010277"/>
                  <a:pt x="1982709" y="2010184"/>
                  <a:pt x="1974846" y="2010369"/>
                </a:cubicBezTo>
                <a:cubicBezTo>
                  <a:pt x="1951256" y="2011017"/>
                  <a:pt x="1933957" y="2014347"/>
                  <a:pt x="1921653" y="2019065"/>
                </a:cubicBezTo>
                <a:cubicBezTo>
                  <a:pt x="1929887" y="2029333"/>
                  <a:pt x="1943208" y="2040805"/>
                  <a:pt x="1963375" y="2053201"/>
                </a:cubicBezTo>
                <a:cubicBezTo>
                  <a:pt x="1970036" y="2057364"/>
                  <a:pt x="1977529" y="2061527"/>
                  <a:pt x="1985762" y="2065874"/>
                </a:cubicBezTo>
                <a:cubicBezTo>
                  <a:pt x="1956067" y="2072628"/>
                  <a:pt x="1927666" y="2087522"/>
                  <a:pt x="1905002" y="2107319"/>
                </a:cubicBezTo>
                <a:cubicBezTo>
                  <a:pt x="1905002" y="2080121"/>
                  <a:pt x="1889460" y="2056901"/>
                  <a:pt x="1879839" y="2050611"/>
                </a:cubicBezTo>
                <a:cubicBezTo>
                  <a:pt x="1858007" y="2036272"/>
                  <a:pt x="1851531" y="2050333"/>
                  <a:pt x="1854862" y="2065042"/>
                </a:cubicBezTo>
                <a:cubicBezTo>
                  <a:pt x="1865963" y="2113794"/>
                  <a:pt x="1855417" y="2150243"/>
                  <a:pt x="1840153" y="2174203"/>
                </a:cubicBezTo>
                <a:cubicBezTo>
                  <a:pt x="1862725" y="2191502"/>
                  <a:pt x="1885112" y="2222122"/>
                  <a:pt x="1891310" y="2271800"/>
                </a:cubicBezTo>
                <a:cubicBezTo>
                  <a:pt x="1893160" y="2286786"/>
                  <a:pt x="1904077" y="2297795"/>
                  <a:pt x="1919711" y="2276795"/>
                </a:cubicBezTo>
                <a:cubicBezTo>
                  <a:pt x="1926556" y="2267637"/>
                  <a:pt x="1933217" y="2240439"/>
                  <a:pt x="1923966" y="2214906"/>
                </a:cubicBezTo>
                <a:cubicBezTo>
                  <a:pt x="1951996" y="2225730"/>
                  <a:pt x="1983819" y="2229986"/>
                  <a:pt x="2013977" y="2226193"/>
                </a:cubicBezTo>
                <a:cubicBezTo>
                  <a:pt x="2010832" y="2229615"/>
                  <a:pt x="2007872" y="2232946"/>
                  <a:pt x="2005096" y="2236184"/>
                </a:cubicBezTo>
                <a:cubicBezTo>
                  <a:pt x="1985577" y="2258941"/>
                  <a:pt x="1974753" y="2277443"/>
                  <a:pt x="1969758" y="2291967"/>
                </a:cubicBezTo>
                <a:cubicBezTo>
                  <a:pt x="1980766" y="2292152"/>
                  <a:pt x="1994643" y="2290301"/>
                  <a:pt x="2011942" y="2285306"/>
                </a:cubicBezTo>
                <a:cubicBezTo>
                  <a:pt x="2022303" y="2282346"/>
                  <a:pt x="2033867" y="2278275"/>
                  <a:pt x="2046818" y="2272910"/>
                </a:cubicBezTo>
                <a:cubicBezTo>
                  <a:pt x="2032942" y="2300015"/>
                  <a:pt x="2026096" y="2331375"/>
                  <a:pt x="2026651" y="2361348"/>
                </a:cubicBezTo>
                <a:cubicBezTo>
                  <a:pt x="2005836" y="2343864"/>
                  <a:pt x="1977991" y="2340904"/>
                  <a:pt x="1966983" y="2344142"/>
                </a:cubicBezTo>
                <a:cubicBezTo>
                  <a:pt x="1941913" y="2351635"/>
                  <a:pt x="1948573" y="2365604"/>
                  <a:pt x="1961987" y="2372542"/>
                </a:cubicBezTo>
                <a:cubicBezTo>
                  <a:pt x="2034884" y="2409915"/>
                  <a:pt x="2045153" y="2470601"/>
                  <a:pt x="2039880" y="2497337"/>
                </a:cubicBezTo>
                <a:cubicBezTo>
                  <a:pt x="2031184" y="2541741"/>
                  <a:pt x="1980766" y="2577727"/>
                  <a:pt x="1937287" y="2572454"/>
                </a:cubicBezTo>
                <a:cubicBezTo>
                  <a:pt x="1793898" y="2554970"/>
                  <a:pt x="1898434" y="2384753"/>
                  <a:pt x="1922393" y="2513526"/>
                </a:cubicBezTo>
                <a:cubicBezTo>
                  <a:pt x="1928869" y="2548679"/>
                  <a:pt x="1977991" y="2540076"/>
                  <a:pt x="1987520" y="2508068"/>
                </a:cubicBezTo>
                <a:cubicBezTo>
                  <a:pt x="2000286" y="2465236"/>
                  <a:pt x="1963282" y="2420276"/>
                  <a:pt x="1925261" y="2403995"/>
                </a:cubicBezTo>
                <a:cubicBezTo>
                  <a:pt x="1873456" y="2381885"/>
                  <a:pt x="1743851" y="2445531"/>
                  <a:pt x="1836360" y="2579022"/>
                </a:cubicBezTo>
                <a:cubicBezTo>
                  <a:pt x="1824889" y="2580780"/>
                  <a:pt x="1813973" y="2583925"/>
                  <a:pt x="1803612" y="2588273"/>
                </a:cubicBezTo>
                <a:cubicBezTo>
                  <a:pt x="1772529" y="2601132"/>
                  <a:pt x="1746441" y="2623981"/>
                  <a:pt x="1726829" y="2646923"/>
                </a:cubicBezTo>
                <a:cubicBezTo>
                  <a:pt x="1749771" y="2657377"/>
                  <a:pt x="1776692" y="2665795"/>
                  <a:pt x="1804444" y="2667460"/>
                </a:cubicBezTo>
                <a:cubicBezTo>
                  <a:pt x="1821096" y="2668478"/>
                  <a:pt x="1838118" y="2667090"/>
                  <a:pt x="1854769" y="2662187"/>
                </a:cubicBezTo>
                <a:cubicBezTo>
                  <a:pt x="1827294" y="2822320"/>
                  <a:pt x="1971701" y="2825188"/>
                  <a:pt x="2009259" y="2783282"/>
                </a:cubicBezTo>
                <a:cubicBezTo>
                  <a:pt x="2036919" y="2752384"/>
                  <a:pt x="2051443" y="2696046"/>
                  <a:pt x="2021748" y="2662650"/>
                </a:cubicBezTo>
                <a:cubicBezTo>
                  <a:pt x="1999546" y="2637580"/>
                  <a:pt x="1951441" y="2650624"/>
                  <a:pt x="1960415" y="2685222"/>
                </a:cubicBezTo>
                <a:cubicBezTo>
                  <a:pt x="1993163" y="2812052"/>
                  <a:pt x="1826554" y="2701966"/>
                  <a:pt x="1949036" y="2625554"/>
                </a:cubicBezTo>
                <a:cubicBezTo>
                  <a:pt x="1986225" y="2602334"/>
                  <a:pt x="2047188" y="2613713"/>
                  <a:pt x="2073738" y="2650254"/>
                </a:cubicBezTo>
                <a:cubicBezTo>
                  <a:pt x="2089742" y="2672271"/>
                  <a:pt x="2106116" y="2731569"/>
                  <a:pt x="2055884" y="2796233"/>
                </a:cubicBezTo>
                <a:cubicBezTo>
                  <a:pt x="2046633" y="2808167"/>
                  <a:pt x="2046540" y="2823616"/>
                  <a:pt x="2072443" y="2819823"/>
                </a:cubicBezTo>
                <a:cubicBezTo>
                  <a:pt x="2083821" y="2818158"/>
                  <a:pt x="2107689" y="2803634"/>
                  <a:pt x="2119253" y="2779026"/>
                </a:cubicBezTo>
                <a:cubicBezTo>
                  <a:pt x="2131371" y="2806501"/>
                  <a:pt x="2150891" y="2832034"/>
                  <a:pt x="2174943" y="2850721"/>
                </a:cubicBezTo>
                <a:cubicBezTo>
                  <a:pt x="2137662" y="2852294"/>
                  <a:pt x="2112869" y="2858214"/>
                  <a:pt x="2097050" y="2865985"/>
                </a:cubicBezTo>
                <a:cubicBezTo>
                  <a:pt x="2109262" y="2878659"/>
                  <a:pt x="2130539" y="2892720"/>
                  <a:pt x="2164952" y="2906966"/>
                </a:cubicBezTo>
                <a:cubicBezTo>
                  <a:pt x="2135997" y="2916310"/>
                  <a:pt x="2108984" y="2933609"/>
                  <a:pt x="2088169" y="2955256"/>
                </a:cubicBezTo>
                <a:cubicBezTo>
                  <a:pt x="2085764" y="2928151"/>
                  <a:pt x="2068280" y="2906411"/>
                  <a:pt x="2058197" y="2900953"/>
                </a:cubicBezTo>
                <a:cubicBezTo>
                  <a:pt x="2035162" y="2888557"/>
                  <a:pt x="2029981" y="2903173"/>
                  <a:pt x="2034607" y="2917512"/>
                </a:cubicBezTo>
                <a:cubicBezTo>
                  <a:pt x="2059677" y="2995497"/>
                  <a:pt x="2024061" y="3045637"/>
                  <a:pt x="2001489" y="3060809"/>
                </a:cubicBezTo>
                <a:cubicBezTo>
                  <a:pt x="1964022" y="3086064"/>
                  <a:pt x="1902874" y="3075888"/>
                  <a:pt x="1875861" y="3041382"/>
                </a:cubicBezTo>
                <a:cubicBezTo>
                  <a:pt x="1786868" y="2927596"/>
                  <a:pt x="1981137" y="2881249"/>
                  <a:pt x="1906944" y="2989114"/>
                </a:cubicBezTo>
                <a:cubicBezTo>
                  <a:pt x="1886685" y="3018625"/>
                  <a:pt x="1927389" y="3047210"/>
                  <a:pt x="1956807" y="3031299"/>
                </a:cubicBezTo>
                <a:cubicBezTo>
                  <a:pt x="1996123" y="3010021"/>
                  <a:pt x="2001766" y="2952111"/>
                  <a:pt x="1986317" y="2913627"/>
                </a:cubicBezTo>
                <a:cubicBezTo>
                  <a:pt x="1965317" y="2861359"/>
                  <a:pt x="1828682" y="2814735"/>
                  <a:pt x="1799726" y="2974590"/>
                </a:cubicBezTo>
                <a:cubicBezTo>
                  <a:pt x="1785757" y="2964322"/>
                  <a:pt x="1770308" y="2957106"/>
                  <a:pt x="1754304" y="2952388"/>
                </a:cubicBezTo>
                <a:cubicBezTo>
                  <a:pt x="1727569" y="2944432"/>
                  <a:pt x="1699447" y="2943230"/>
                  <a:pt x="1674284" y="2945173"/>
                </a:cubicBezTo>
                <a:cubicBezTo>
                  <a:pt x="1683073" y="2968762"/>
                  <a:pt x="1696209" y="2993740"/>
                  <a:pt x="1714618" y="3014647"/>
                </a:cubicBezTo>
                <a:cubicBezTo>
                  <a:pt x="1722019" y="3022972"/>
                  <a:pt x="1730252" y="3030651"/>
                  <a:pt x="1739410" y="3037312"/>
                </a:cubicBezTo>
                <a:cubicBezTo>
                  <a:pt x="1744036" y="3040642"/>
                  <a:pt x="1748846" y="3043695"/>
                  <a:pt x="1753934" y="3046470"/>
                </a:cubicBezTo>
                <a:cubicBezTo>
                  <a:pt x="1621276" y="3140274"/>
                  <a:pt x="1721279" y="3244439"/>
                  <a:pt x="1777524" y="3241386"/>
                </a:cubicBezTo>
                <a:cubicBezTo>
                  <a:pt x="1818876" y="3239166"/>
                  <a:pt x="1868923" y="3209563"/>
                  <a:pt x="1871698" y="3164882"/>
                </a:cubicBezTo>
                <a:cubicBezTo>
                  <a:pt x="1873734" y="3131486"/>
                  <a:pt x="1830532" y="3106693"/>
                  <a:pt x="1812400" y="3137499"/>
                </a:cubicBezTo>
                <a:cubicBezTo>
                  <a:pt x="1745886" y="3250360"/>
                  <a:pt x="1705922" y="3054703"/>
                  <a:pt x="1846628" y="3087266"/>
                </a:cubicBezTo>
                <a:cubicBezTo>
                  <a:pt x="1889368" y="3097165"/>
                  <a:pt x="1924429" y="3148322"/>
                  <a:pt x="1917398" y="3192912"/>
                </a:cubicBezTo>
                <a:cubicBezTo>
                  <a:pt x="1913142" y="3219739"/>
                  <a:pt x="1882799" y="3273302"/>
                  <a:pt x="1801484" y="3283478"/>
                </a:cubicBezTo>
                <a:cubicBezTo>
                  <a:pt x="1786498" y="3285328"/>
                  <a:pt x="1775489" y="3296244"/>
                  <a:pt x="1796489" y="3311878"/>
                </a:cubicBezTo>
                <a:cubicBezTo>
                  <a:pt x="1805647" y="3318724"/>
                  <a:pt x="1832845" y="3325384"/>
                  <a:pt x="1858377" y="3316133"/>
                </a:cubicBezTo>
                <a:cubicBezTo>
                  <a:pt x="1847554" y="3344164"/>
                  <a:pt x="1843298" y="3375987"/>
                  <a:pt x="1847091" y="3406145"/>
                </a:cubicBezTo>
                <a:cubicBezTo>
                  <a:pt x="1836822" y="3396709"/>
                  <a:pt x="1827294" y="3388938"/>
                  <a:pt x="1818598" y="3382555"/>
                </a:cubicBezTo>
                <a:cubicBezTo>
                  <a:pt x="1804074" y="3372009"/>
                  <a:pt x="1791678" y="3365441"/>
                  <a:pt x="1781225" y="3361926"/>
                </a:cubicBezTo>
                <a:cubicBezTo>
                  <a:pt x="1780947" y="3377282"/>
                  <a:pt x="1784832" y="3398374"/>
                  <a:pt x="1795378" y="3426497"/>
                </a:cubicBezTo>
                <a:cubicBezTo>
                  <a:pt x="1796859" y="3430475"/>
                  <a:pt x="1798524" y="3434637"/>
                  <a:pt x="1800281" y="3438985"/>
                </a:cubicBezTo>
                <a:cubicBezTo>
                  <a:pt x="1773176" y="3425109"/>
                  <a:pt x="1741816" y="3418263"/>
                  <a:pt x="1711843" y="3418819"/>
                </a:cubicBezTo>
                <a:cubicBezTo>
                  <a:pt x="1729327" y="3398004"/>
                  <a:pt x="1732287" y="3370159"/>
                  <a:pt x="1729050" y="3359150"/>
                </a:cubicBezTo>
                <a:cubicBezTo>
                  <a:pt x="1721556" y="3334080"/>
                  <a:pt x="1707587" y="3340741"/>
                  <a:pt x="1700649" y="3354155"/>
                </a:cubicBezTo>
                <a:cubicBezTo>
                  <a:pt x="1677799" y="3398652"/>
                  <a:pt x="1646346" y="3419836"/>
                  <a:pt x="1619149" y="3428347"/>
                </a:cubicBezTo>
                <a:cubicBezTo>
                  <a:pt x="1625347" y="3456100"/>
                  <a:pt x="1622757" y="3493936"/>
                  <a:pt x="1595652" y="3536028"/>
                </a:cubicBezTo>
                <a:cubicBezTo>
                  <a:pt x="1587511" y="3548701"/>
                  <a:pt x="1588713" y="3564150"/>
                  <a:pt x="1614153" y="3558137"/>
                </a:cubicBezTo>
                <a:cubicBezTo>
                  <a:pt x="1625347" y="3555454"/>
                  <a:pt x="1647919" y="3538988"/>
                  <a:pt x="1657170" y="3513455"/>
                </a:cubicBezTo>
                <a:cubicBezTo>
                  <a:pt x="1671694" y="3539728"/>
                  <a:pt x="1693341" y="3563503"/>
                  <a:pt x="1718873" y="3579969"/>
                </a:cubicBezTo>
                <a:cubicBezTo>
                  <a:pt x="1709623" y="3581172"/>
                  <a:pt x="1701204" y="3582560"/>
                  <a:pt x="1693526" y="3584132"/>
                </a:cubicBezTo>
                <a:cubicBezTo>
                  <a:pt x="1670399" y="3588850"/>
                  <a:pt x="1653932" y="3595141"/>
                  <a:pt x="1642739" y="3601894"/>
                </a:cubicBezTo>
                <a:cubicBezTo>
                  <a:pt x="1654302" y="3611977"/>
                  <a:pt x="1672989" y="3622616"/>
                  <a:pt x="1701297" y="3632607"/>
                </a:cubicBezTo>
                <a:cubicBezTo>
                  <a:pt x="1705367" y="3633995"/>
                  <a:pt x="1709623" y="3635475"/>
                  <a:pt x="1714063" y="3636862"/>
                </a:cubicBezTo>
                <a:cubicBezTo>
                  <a:pt x="1686033" y="3648703"/>
                  <a:pt x="1660593" y="3668315"/>
                  <a:pt x="1641721" y="3691720"/>
                </a:cubicBezTo>
                <a:cubicBezTo>
                  <a:pt x="1637003" y="3664985"/>
                  <a:pt x="1617576" y="3644726"/>
                  <a:pt x="1607123" y="3640192"/>
                </a:cubicBezTo>
                <a:cubicBezTo>
                  <a:pt x="1583163" y="3629832"/>
                  <a:pt x="1579185" y="3644818"/>
                  <a:pt x="1585013" y="3658694"/>
                </a:cubicBezTo>
                <a:cubicBezTo>
                  <a:pt x="1616836" y="3734274"/>
                  <a:pt x="1585661" y="3787282"/>
                  <a:pt x="1564476" y="3804396"/>
                </a:cubicBezTo>
                <a:cubicBezTo>
                  <a:pt x="1529323" y="3832796"/>
                  <a:pt x="1467527" y="3827986"/>
                  <a:pt x="1437554" y="3795978"/>
                </a:cubicBezTo>
                <a:cubicBezTo>
                  <a:pt x="1339032" y="3690425"/>
                  <a:pt x="1528490" y="3627241"/>
                  <a:pt x="1464011" y="3741212"/>
                </a:cubicBezTo>
                <a:cubicBezTo>
                  <a:pt x="1446434" y="3772295"/>
                  <a:pt x="1489451" y="3797273"/>
                  <a:pt x="1517389" y="3778864"/>
                </a:cubicBezTo>
                <a:cubicBezTo>
                  <a:pt x="1554670" y="3754256"/>
                  <a:pt x="1555318" y="3696068"/>
                  <a:pt x="1536538" y="3659064"/>
                </a:cubicBezTo>
                <a:cubicBezTo>
                  <a:pt x="1511098" y="3608832"/>
                  <a:pt x="1370855" y="3574326"/>
                  <a:pt x="1355961" y="3736032"/>
                </a:cubicBezTo>
                <a:cubicBezTo>
                  <a:pt x="1338662" y="3725486"/>
                  <a:pt x="1319697" y="3719380"/>
                  <a:pt x="1300548" y="3716420"/>
                </a:cubicBezTo>
                <a:cubicBezTo>
                  <a:pt x="1275848" y="3712627"/>
                  <a:pt x="1250778" y="3713922"/>
                  <a:pt x="1228483" y="3717715"/>
                </a:cubicBezTo>
                <a:cubicBezTo>
                  <a:pt x="1239307" y="3740472"/>
                  <a:pt x="1254478" y="3764247"/>
                  <a:pt x="1274738" y="3783396"/>
                </a:cubicBezTo>
                <a:cubicBezTo>
                  <a:pt x="1286856" y="3794868"/>
                  <a:pt x="1300825" y="3804766"/>
                  <a:pt x="1316644" y="3811704"/>
                </a:cubicBezTo>
                <a:cubicBezTo>
                  <a:pt x="1192682" y="3916702"/>
                  <a:pt x="1301380" y="4011709"/>
                  <a:pt x="1357163" y="4003753"/>
                </a:cubicBezTo>
                <a:cubicBezTo>
                  <a:pt x="1398237" y="3997925"/>
                  <a:pt x="1445509" y="3964067"/>
                  <a:pt x="1444307" y="3919385"/>
                </a:cubicBezTo>
                <a:cubicBezTo>
                  <a:pt x="1443382" y="3885989"/>
                  <a:pt x="1398237" y="3864989"/>
                  <a:pt x="1382788" y="3897275"/>
                </a:cubicBezTo>
                <a:cubicBezTo>
                  <a:pt x="1326358" y="4015502"/>
                  <a:pt x="1269465" y="3824100"/>
                  <a:pt x="1412484" y="3844267"/>
                </a:cubicBezTo>
                <a:cubicBezTo>
                  <a:pt x="1455870" y="3850373"/>
                  <a:pt x="1495279" y="3898293"/>
                  <a:pt x="1492134" y="3943345"/>
                </a:cubicBezTo>
                <a:cubicBezTo>
                  <a:pt x="1490284" y="3970450"/>
                  <a:pt x="1464659" y="4026418"/>
                  <a:pt x="1384546" y="4043717"/>
                </a:cubicBezTo>
                <a:cubicBezTo>
                  <a:pt x="1369837" y="4046862"/>
                  <a:pt x="1359754" y="4058703"/>
                  <a:pt x="1382048" y="4072395"/>
                </a:cubicBezTo>
                <a:cubicBezTo>
                  <a:pt x="1391854" y="4078408"/>
                  <a:pt x="1419514" y="4082663"/>
                  <a:pt x="1444122" y="4071192"/>
                </a:cubicBezTo>
                <a:cubicBezTo>
                  <a:pt x="1435796" y="4100055"/>
                  <a:pt x="1434316" y="4132156"/>
                  <a:pt x="1440699" y="4161851"/>
                </a:cubicBezTo>
                <a:cubicBezTo>
                  <a:pt x="1411189" y="4139094"/>
                  <a:pt x="1388246" y="4127715"/>
                  <a:pt x="1371225" y="4123460"/>
                </a:cubicBezTo>
                <a:cubicBezTo>
                  <a:pt x="1372427" y="4140944"/>
                  <a:pt x="1379643" y="4165459"/>
                  <a:pt x="1396942" y="4198484"/>
                </a:cubicBezTo>
                <a:cubicBezTo>
                  <a:pt x="1368727" y="4187013"/>
                  <a:pt x="1336904" y="4182943"/>
                  <a:pt x="1307023" y="4186088"/>
                </a:cubicBezTo>
                <a:cubicBezTo>
                  <a:pt x="1322565" y="4163793"/>
                  <a:pt x="1323212" y="4135856"/>
                  <a:pt x="1318957" y="4125217"/>
                </a:cubicBezTo>
                <a:cubicBezTo>
                  <a:pt x="1309336" y="4100887"/>
                  <a:pt x="1295922" y="4108751"/>
                  <a:pt x="1290279" y="4122719"/>
                </a:cubicBezTo>
                <a:cubicBezTo>
                  <a:pt x="1259381" y="4198577"/>
                  <a:pt x="1199805" y="4214118"/>
                  <a:pt x="1172793" y="4211251"/>
                </a:cubicBezTo>
                <a:cubicBezTo>
                  <a:pt x="1127833" y="4206440"/>
                  <a:pt x="1087500" y="4159353"/>
                  <a:pt x="1089072" y="4115596"/>
                </a:cubicBezTo>
                <a:cubicBezTo>
                  <a:pt x="1094068" y="3971282"/>
                  <a:pt x="1272703" y="4060553"/>
                  <a:pt x="1146428" y="4095522"/>
                </a:cubicBezTo>
                <a:cubicBezTo>
                  <a:pt x="1112014" y="4105050"/>
                  <a:pt x="1124781" y="4153248"/>
                  <a:pt x="1157529" y="4159908"/>
                </a:cubicBezTo>
                <a:cubicBezTo>
                  <a:pt x="1201286" y="4168882"/>
                  <a:pt x="1242915" y="4128177"/>
                  <a:pt x="1255773" y="4088769"/>
                </a:cubicBezTo>
                <a:cubicBezTo>
                  <a:pt x="1273258" y="4035206"/>
                  <a:pt x="1198510" y="3911706"/>
                  <a:pt x="1073623" y="4015502"/>
                </a:cubicBezTo>
                <a:cubicBezTo>
                  <a:pt x="1068813" y="3995797"/>
                  <a:pt x="1059747" y="3978128"/>
                  <a:pt x="1048276" y="3962401"/>
                </a:cubicBezTo>
                <a:cubicBezTo>
                  <a:pt x="1033567" y="3942235"/>
                  <a:pt x="1014880" y="3925490"/>
                  <a:pt x="996378" y="3912354"/>
                </a:cubicBezTo>
                <a:cubicBezTo>
                  <a:pt x="987127" y="3938442"/>
                  <a:pt x="980744" y="3969154"/>
                  <a:pt x="983057" y="3999867"/>
                </a:cubicBezTo>
                <a:cubicBezTo>
                  <a:pt x="984167" y="4013836"/>
                  <a:pt x="987035" y="4027713"/>
                  <a:pt x="992308" y="4041126"/>
                </a:cubicBezTo>
                <a:cubicBezTo>
                  <a:pt x="830417" y="4027713"/>
                  <a:pt x="840038" y="4171842"/>
                  <a:pt x="885090" y="4205608"/>
                </a:cubicBezTo>
                <a:cubicBezTo>
                  <a:pt x="918208" y="4230492"/>
                  <a:pt x="975656" y="4240021"/>
                  <a:pt x="1006369" y="4207550"/>
                </a:cubicBezTo>
                <a:cubicBezTo>
                  <a:pt x="1029404" y="4183220"/>
                  <a:pt x="1012197" y="4136503"/>
                  <a:pt x="978524" y="4148437"/>
                </a:cubicBezTo>
                <a:cubicBezTo>
                  <a:pt x="855024" y="4192101"/>
                  <a:pt x="950124" y="4016519"/>
                  <a:pt x="1036990" y="4131878"/>
                </a:cubicBezTo>
                <a:cubicBezTo>
                  <a:pt x="1063355" y="4166939"/>
                  <a:pt x="1057342" y="4228642"/>
                  <a:pt x="1023206" y="4258338"/>
                </a:cubicBezTo>
                <a:cubicBezTo>
                  <a:pt x="1002669" y="4276192"/>
                  <a:pt x="945036" y="4297654"/>
                  <a:pt x="876209" y="4253250"/>
                </a:cubicBezTo>
                <a:cubicBezTo>
                  <a:pt x="863535" y="4245109"/>
                  <a:pt x="848086" y="4246312"/>
                  <a:pt x="854099" y="4271752"/>
                </a:cubicBezTo>
                <a:cubicBezTo>
                  <a:pt x="856782" y="4282945"/>
                  <a:pt x="873249" y="4305517"/>
                  <a:pt x="898781" y="4314768"/>
                </a:cubicBezTo>
                <a:cubicBezTo>
                  <a:pt x="872509" y="4329292"/>
                  <a:pt x="848734" y="4350939"/>
                  <a:pt x="832267" y="4376472"/>
                </a:cubicBezTo>
                <a:cubicBezTo>
                  <a:pt x="831065" y="4367221"/>
                  <a:pt x="829677" y="4358803"/>
                  <a:pt x="828104" y="4351032"/>
                </a:cubicBezTo>
                <a:cubicBezTo>
                  <a:pt x="823386" y="4327904"/>
                  <a:pt x="817096" y="4311438"/>
                  <a:pt x="810250" y="4300244"/>
                </a:cubicBezTo>
                <a:cubicBezTo>
                  <a:pt x="801554" y="4310143"/>
                  <a:pt x="792581" y="4325314"/>
                  <a:pt x="783885" y="4347239"/>
                </a:cubicBezTo>
                <a:cubicBezTo>
                  <a:pt x="781017" y="4354547"/>
                  <a:pt x="778149" y="4362595"/>
                  <a:pt x="775374" y="4371476"/>
                </a:cubicBezTo>
                <a:cubicBezTo>
                  <a:pt x="763533" y="4343446"/>
                  <a:pt x="743921" y="4318006"/>
                  <a:pt x="720516" y="4299134"/>
                </a:cubicBezTo>
                <a:cubicBezTo>
                  <a:pt x="747251" y="4294416"/>
                  <a:pt x="767511" y="4275082"/>
                  <a:pt x="772044" y="4264536"/>
                </a:cubicBezTo>
                <a:cubicBezTo>
                  <a:pt x="782405" y="4240576"/>
                  <a:pt x="767418" y="4236598"/>
                  <a:pt x="753542" y="4242426"/>
                </a:cubicBezTo>
                <a:cubicBezTo>
                  <a:pt x="707473" y="4261853"/>
                  <a:pt x="669729" y="4257783"/>
                  <a:pt x="643456" y="4246867"/>
                </a:cubicBezTo>
                <a:cubicBezTo>
                  <a:pt x="630320" y="4272122"/>
                  <a:pt x="604047" y="4299412"/>
                  <a:pt x="556220" y="4314213"/>
                </a:cubicBezTo>
                <a:cubicBezTo>
                  <a:pt x="541789" y="4318654"/>
                  <a:pt x="532908" y="4331327"/>
                  <a:pt x="556220" y="4343076"/>
                </a:cubicBezTo>
                <a:cubicBezTo>
                  <a:pt x="566489" y="4348257"/>
                  <a:pt x="594426" y="4350107"/>
                  <a:pt x="617924" y="4336508"/>
                </a:cubicBezTo>
                <a:cubicBezTo>
                  <a:pt x="612096" y="4366018"/>
                  <a:pt x="613483" y="4398026"/>
                  <a:pt x="622457" y="4427167"/>
                </a:cubicBezTo>
                <a:cubicBezTo>
                  <a:pt x="614593" y="4422171"/>
                  <a:pt x="607193" y="4417823"/>
                  <a:pt x="600347" y="4414031"/>
                </a:cubicBezTo>
                <a:cubicBezTo>
                  <a:pt x="579625" y="4402837"/>
                  <a:pt x="562973" y="4397009"/>
                  <a:pt x="549930" y="4394973"/>
                </a:cubicBezTo>
                <a:cubicBezTo>
                  <a:pt x="551965" y="4408017"/>
                  <a:pt x="557700" y="4424576"/>
                  <a:pt x="568987" y="4445391"/>
                </a:cubicBezTo>
                <a:cubicBezTo>
                  <a:pt x="572687" y="4452329"/>
                  <a:pt x="577035" y="4459730"/>
                  <a:pt x="582123" y="4467501"/>
                </a:cubicBezTo>
                <a:cubicBezTo>
                  <a:pt x="553075" y="4458527"/>
                  <a:pt x="520974" y="4457232"/>
                  <a:pt x="491464" y="4462968"/>
                </a:cubicBezTo>
                <a:cubicBezTo>
                  <a:pt x="505063" y="4439471"/>
                  <a:pt x="503213" y="4411533"/>
                  <a:pt x="498032" y="4401264"/>
                </a:cubicBezTo>
                <a:cubicBezTo>
                  <a:pt x="486283" y="4377952"/>
                  <a:pt x="473702" y="4386833"/>
                  <a:pt x="469169" y="4401264"/>
                </a:cubicBezTo>
                <a:cubicBezTo>
                  <a:pt x="445024" y="4479527"/>
                  <a:pt x="387021" y="4500156"/>
                  <a:pt x="359824" y="4499694"/>
                </a:cubicBezTo>
                <a:cubicBezTo>
                  <a:pt x="314587" y="4498861"/>
                  <a:pt x="270367" y="4455474"/>
                  <a:pt x="268055" y="4411718"/>
                </a:cubicBezTo>
                <a:cubicBezTo>
                  <a:pt x="260376" y="4267496"/>
                  <a:pt x="446135" y="4340856"/>
                  <a:pt x="323468" y="4386740"/>
                </a:cubicBezTo>
                <a:cubicBezTo>
                  <a:pt x="289979" y="4399229"/>
                  <a:pt x="306908" y="4446131"/>
                  <a:pt x="340119" y="4449924"/>
                </a:cubicBezTo>
                <a:cubicBezTo>
                  <a:pt x="384524" y="4455012"/>
                  <a:pt x="422360" y="4410885"/>
                  <a:pt x="431796" y="4370459"/>
                </a:cubicBezTo>
                <a:cubicBezTo>
                  <a:pt x="444562" y="4315601"/>
                  <a:pt x="359361" y="4199039"/>
                  <a:pt x="244002" y="4313381"/>
                </a:cubicBezTo>
                <a:cubicBezTo>
                  <a:pt x="238452" y="4296914"/>
                  <a:pt x="229848" y="4282205"/>
                  <a:pt x="219487" y="4269161"/>
                </a:cubicBezTo>
                <a:cubicBezTo>
                  <a:pt x="202188" y="4247329"/>
                  <a:pt x="179801" y="4230215"/>
                  <a:pt x="158154" y="4217356"/>
                </a:cubicBezTo>
                <a:cubicBezTo>
                  <a:pt x="151863" y="4241779"/>
                  <a:pt x="148163" y="4269716"/>
                  <a:pt x="151401" y="4297377"/>
                </a:cubicBezTo>
                <a:cubicBezTo>
                  <a:pt x="151678" y="4300152"/>
                  <a:pt x="152141" y="4302927"/>
                  <a:pt x="152603" y="4305702"/>
                </a:cubicBezTo>
                <a:cubicBezTo>
                  <a:pt x="153529" y="4311253"/>
                  <a:pt x="154731" y="4316711"/>
                  <a:pt x="156211" y="4322169"/>
                </a:cubicBezTo>
                <a:cubicBezTo>
                  <a:pt x="158524" y="4330310"/>
                  <a:pt x="161484" y="4338358"/>
                  <a:pt x="165370" y="4346129"/>
                </a:cubicBezTo>
                <a:cubicBezTo>
                  <a:pt x="2924" y="4346869"/>
                  <a:pt x="25126" y="4489610"/>
                  <a:pt x="72953" y="4519306"/>
                </a:cubicBezTo>
                <a:cubicBezTo>
                  <a:pt x="108107" y="4541230"/>
                  <a:pt x="166202" y="4545671"/>
                  <a:pt x="193955" y="4510610"/>
                </a:cubicBezTo>
                <a:cubicBezTo>
                  <a:pt x="214770" y="4484430"/>
                  <a:pt x="193585" y="4439285"/>
                  <a:pt x="161114" y="4454179"/>
                </a:cubicBezTo>
                <a:cubicBezTo>
                  <a:pt x="41963" y="4508482"/>
                  <a:pt x="121335" y="4325222"/>
                  <a:pt x="217915" y="4432625"/>
                </a:cubicBezTo>
                <a:cubicBezTo>
                  <a:pt x="247240" y="4465188"/>
                  <a:pt x="246593" y="4527169"/>
                  <a:pt x="215232" y="4559732"/>
                </a:cubicBezTo>
                <a:cubicBezTo>
                  <a:pt x="196360" y="4579344"/>
                  <a:pt x="140762" y="4605709"/>
                  <a:pt x="68328" y="4567503"/>
                </a:cubicBezTo>
                <a:cubicBezTo>
                  <a:pt x="55006" y="4560472"/>
                  <a:pt x="39742" y="4563062"/>
                  <a:pt x="47976" y="4587855"/>
                </a:cubicBezTo>
                <a:cubicBezTo>
                  <a:pt x="51584" y="4598771"/>
                  <a:pt x="69993" y="4619770"/>
                  <a:pt x="96265" y="4626801"/>
                </a:cubicBezTo>
                <a:cubicBezTo>
                  <a:pt x="71288" y="4643545"/>
                  <a:pt x="49548" y="4667135"/>
                  <a:pt x="35302" y="4694055"/>
                </a:cubicBezTo>
                <a:cubicBezTo>
                  <a:pt x="27254" y="4657607"/>
                  <a:pt x="17078" y="4634202"/>
                  <a:pt x="6717" y="4620048"/>
                </a:cubicBezTo>
                <a:lnTo>
                  <a:pt x="6717" y="4783511"/>
                </a:lnTo>
                <a:cubicBezTo>
                  <a:pt x="80354" y="4911359"/>
                  <a:pt x="50103" y="5017096"/>
                  <a:pt x="6717" y="5086663"/>
                </a:cubicBezTo>
                <a:cubicBezTo>
                  <a:pt x="6717" y="5086663"/>
                  <a:pt x="6717" y="5086663"/>
                  <a:pt x="6717" y="5086663"/>
                </a:cubicBezTo>
                <a:lnTo>
                  <a:pt x="6717" y="5147997"/>
                </a:lnTo>
                <a:cubicBezTo>
                  <a:pt x="6717" y="5147997"/>
                  <a:pt x="6717" y="5147997"/>
                  <a:pt x="6717" y="5147997"/>
                </a:cubicBezTo>
                <a:cubicBezTo>
                  <a:pt x="49826" y="5109421"/>
                  <a:pt x="98023" y="5040409"/>
                  <a:pt x="98948" y="4929953"/>
                </a:cubicBezTo>
                <a:cubicBezTo>
                  <a:pt x="164537" y="4980926"/>
                  <a:pt x="254548" y="4973155"/>
                  <a:pt x="284059" y="4939666"/>
                </a:cubicBezTo>
                <a:cubicBezTo>
                  <a:pt x="290812" y="4931988"/>
                  <a:pt x="287852" y="4921257"/>
                  <a:pt x="278323" y="4917834"/>
                </a:cubicBezTo>
                <a:cubicBezTo>
                  <a:pt x="260284" y="4911451"/>
                  <a:pt x="192012" y="4944847"/>
                  <a:pt x="123001" y="4861681"/>
                </a:cubicBezTo>
                <a:cubicBezTo>
                  <a:pt x="148071" y="4867695"/>
                  <a:pt x="174713" y="4862699"/>
                  <a:pt x="201818" y="4842810"/>
                </a:cubicBezTo>
                <a:cubicBezTo>
                  <a:pt x="215140" y="4833096"/>
                  <a:pt x="205334" y="4814687"/>
                  <a:pt x="191272" y="4817832"/>
                </a:cubicBezTo>
                <a:cubicBezTo>
                  <a:pt x="57227" y="4847620"/>
                  <a:pt x="53619" y="4761124"/>
                  <a:pt x="100983" y="4712279"/>
                </a:cubicBezTo>
                <a:cubicBezTo>
                  <a:pt x="137802" y="4674258"/>
                  <a:pt x="204316" y="4648911"/>
                  <a:pt x="259636" y="4653351"/>
                </a:cubicBezTo>
                <a:cubicBezTo>
                  <a:pt x="325688" y="4658624"/>
                  <a:pt x="388501" y="4765935"/>
                  <a:pt x="291089" y="4778609"/>
                </a:cubicBezTo>
                <a:cubicBezTo>
                  <a:pt x="282024" y="4692945"/>
                  <a:pt x="216897" y="4718200"/>
                  <a:pt x="223373" y="4779256"/>
                </a:cubicBezTo>
                <a:cubicBezTo>
                  <a:pt x="228368" y="4826158"/>
                  <a:pt x="281376" y="4878611"/>
                  <a:pt x="365559" y="4806916"/>
                </a:cubicBezTo>
                <a:cubicBezTo>
                  <a:pt x="384153" y="4858351"/>
                  <a:pt x="414404" y="4877685"/>
                  <a:pt x="433646" y="4882311"/>
                </a:cubicBezTo>
                <a:cubicBezTo>
                  <a:pt x="444007" y="4865474"/>
                  <a:pt x="451778" y="4830413"/>
                  <a:pt x="428465" y="4780829"/>
                </a:cubicBezTo>
                <a:cubicBezTo>
                  <a:pt x="538736" y="4771948"/>
                  <a:pt x="539106" y="4697478"/>
                  <a:pt x="509503" y="4660752"/>
                </a:cubicBezTo>
                <a:cubicBezTo>
                  <a:pt x="470927" y="4613017"/>
                  <a:pt x="407003" y="4641140"/>
                  <a:pt x="461214" y="4708116"/>
                </a:cubicBezTo>
                <a:cubicBezTo>
                  <a:pt x="383321" y="4768062"/>
                  <a:pt x="351868" y="4647708"/>
                  <a:pt x="394885" y="4597291"/>
                </a:cubicBezTo>
                <a:cubicBezTo>
                  <a:pt x="430871" y="4555107"/>
                  <a:pt x="495812" y="4525966"/>
                  <a:pt x="548727" y="4526799"/>
                </a:cubicBezTo>
                <a:cubicBezTo>
                  <a:pt x="616814" y="4527909"/>
                  <a:pt x="675372" y="4591555"/>
                  <a:pt x="559551" y="4665285"/>
                </a:cubicBezTo>
                <a:cubicBezTo>
                  <a:pt x="547432" y="4673056"/>
                  <a:pt x="553445" y="4692945"/>
                  <a:pt x="569819" y="4690447"/>
                </a:cubicBezTo>
                <a:cubicBezTo>
                  <a:pt x="603030" y="4685359"/>
                  <a:pt x="625417" y="4670095"/>
                  <a:pt x="638923" y="4648078"/>
                </a:cubicBezTo>
                <a:cubicBezTo>
                  <a:pt x="648914" y="4755666"/>
                  <a:pt x="576942" y="4780366"/>
                  <a:pt x="568802" y="4797573"/>
                </a:cubicBezTo>
                <a:cubicBezTo>
                  <a:pt x="564454" y="4806731"/>
                  <a:pt x="569912" y="4816444"/>
                  <a:pt x="580180" y="4817092"/>
                </a:cubicBezTo>
                <a:cubicBezTo>
                  <a:pt x="624769" y="4819867"/>
                  <a:pt x="693781" y="4761772"/>
                  <a:pt x="704235" y="4679346"/>
                </a:cubicBezTo>
                <a:cubicBezTo>
                  <a:pt x="746234" y="4720698"/>
                  <a:pt x="789343" y="4744102"/>
                  <a:pt x="829307" y="4756499"/>
                </a:cubicBezTo>
                <a:cubicBezTo>
                  <a:pt x="851879" y="4721345"/>
                  <a:pt x="869918" y="4675646"/>
                  <a:pt x="875469" y="4616995"/>
                </a:cubicBezTo>
                <a:cubicBezTo>
                  <a:pt x="936432" y="4673426"/>
                  <a:pt x="1026629" y="4673611"/>
                  <a:pt x="1059007" y="4642805"/>
                </a:cubicBezTo>
                <a:cubicBezTo>
                  <a:pt x="1066407" y="4635775"/>
                  <a:pt x="1064372" y="4624766"/>
                  <a:pt x="1055214" y="4620510"/>
                </a:cubicBezTo>
                <a:cubicBezTo>
                  <a:pt x="1037822" y="4612555"/>
                  <a:pt x="966868" y="4639937"/>
                  <a:pt x="905349" y="4551036"/>
                </a:cubicBezTo>
                <a:cubicBezTo>
                  <a:pt x="929772" y="4559270"/>
                  <a:pt x="956784" y="4556494"/>
                  <a:pt x="985462" y="4539103"/>
                </a:cubicBezTo>
                <a:cubicBezTo>
                  <a:pt x="999523" y="4530499"/>
                  <a:pt x="991475" y="4511350"/>
                  <a:pt x="977136" y="4513293"/>
                </a:cubicBezTo>
                <a:cubicBezTo>
                  <a:pt x="841055" y="4531239"/>
                  <a:pt x="845033" y="4444836"/>
                  <a:pt x="896468" y="4400247"/>
                </a:cubicBezTo>
                <a:cubicBezTo>
                  <a:pt x="936525" y="4365556"/>
                  <a:pt x="1004981" y="4346221"/>
                  <a:pt x="1059654" y="4355380"/>
                </a:cubicBezTo>
                <a:cubicBezTo>
                  <a:pt x="1124966" y="4366388"/>
                  <a:pt x="1178251" y="4478694"/>
                  <a:pt x="1080099" y="4482857"/>
                </a:cubicBezTo>
                <a:cubicBezTo>
                  <a:pt x="1078526" y="4396731"/>
                  <a:pt x="1011457" y="4416251"/>
                  <a:pt x="1012567" y="4477584"/>
                </a:cubicBezTo>
                <a:cubicBezTo>
                  <a:pt x="1013492" y="4524764"/>
                  <a:pt x="1061689" y="4581564"/>
                  <a:pt x="1151793" y="4517548"/>
                </a:cubicBezTo>
                <a:cubicBezTo>
                  <a:pt x="1165855" y="4570463"/>
                  <a:pt x="1194255" y="4592388"/>
                  <a:pt x="1213034" y="4598586"/>
                </a:cubicBezTo>
                <a:cubicBezTo>
                  <a:pt x="1224875" y="4582674"/>
                  <a:pt x="1235607" y="4548446"/>
                  <a:pt x="1216735" y="4497011"/>
                </a:cubicBezTo>
                <a:cubicBezTo>
                  <a:pt x="1327375" y="4497751"/>
                  <a:pt x="1334221" y="4423559"/>
                  <a:pt x="1307856" y="4384428"/>
                </a:cubicBezTo>
                <a:cubicBezTo>
                  <a:pt x="1273628" y="4333548"/>
                  <a:pt x="1207484" y="4356027"/>
                  <a:pt x="1255588" y="4427444"/>
                </a:cubicBezTo>
                <a:cubicBezTo>
                  <a:pt x="1172793" y="4480359"/>
                  <a:pt x="1151978" y="4357785"/>
                  <a:pt x="1199158" y="4311253"/>
                </a:cubicBezTo>
                <a:cubicBezTo>
                  <a:pt x="1238659" y="4272307"/>
                  <a:pt x="1305913" y="4248994"/>
                  <a:pt x="1358551" y="4254360"/>
                </a:cubicBezTo>
                <a:cubicBezTo>
                  <a:pt x="1426267" y="4261391"/>
                  <a:pt x="1479090" y="4329940"/>
                  <a:pt x="1357256" y="4393216"/>
                </a:cubicBezTo>
                <a:cubicBezTo>
                  <a:pt x="1344490" y="4399877"/>
                  <a:pt x="1348837" y="4420228"/>
                  <a:pt x="1365212" y="4419118"/>
                </a:cubicBezTo>
                <a:cubicBezTo>
                  <a:pt x="1398700" y="4416991"/>
                  <a:pt x="1422382" y="4403669"/>
                  <a:pt x="1437739" y="4382947"/>
                </a:cubicBezTo>
                <a:cubicBezTo>
                  <a:pt x="1438294" y="4490998"/>
                  <a:pt x="1364472" y="4509315"/>
                  <a:pt x="1354851" y="4525781"/>
                </a:cubicBezTo>
                <a:cubicBezTo>
                  <a:pt x="1349763" y="4534477"/>
                  <a:pt x="1354388" y="4544746"/>
                  <a:pt x="1364472" y="4546226"/>
                </a:cubicBezTo>
                <a:cubicBezTo>
                  <a:pt x="1408691" y="4552886"/>
                  <a:pt x="1482513" y="4500989"/>
                  <a:pt x="1499997" y="4419766"/>
                </a:cubicBezTo>
                <a:cubicBezTo>
                  <a:pt x="1571692" y="4503764"/>
                  <a:pt x="1652915" y="4525689"/>
                  <a:pt x="1710825" y="4527539"/>
                </a:cubicBezTo>
                <a:cubicBezTo>
                  <a:pt x="1719059" y="4470276"/>
                  <a:pt x="1711658" y="4386463"/>
                  <a:pt x="1641351" y="4301262"/>
                </a:cubicBezTo>
                <a:cubicBezTo>
                  <a:pt x="1724331" y="4298117"/>
                  <a:pt x="1788255" y="4234378"/>
                  <a:pt x="1789365" y="4189696"/>
                </a:cubicBezTo>
                <a:cubicBezTo>
                  <a:pt x="1789643" y="4179427"/>
                  <a:pt x="1780392" y="4173137"/>
                  <a:pt x="1770864" y="4176652"/>
                </a:cubicBezTo>
                <a:cubicBezTo>
                  <a:pt x="1752917" y="4183313"/>
                  <a:pt x="1722111" y="4252880"/>
                  <a:pt x="1615818" y="4233545"/>
                </a:cubicBezTo>
                <a:cubicBezTo>
                  <a:pt x="1638853" y="4222074"/>
                  <a:pt x="1656060" y="4201075"/>
                  <a:pt x="1664016" y="4168419"/>
                </a:cubicBezTo>
                <a:cubicBezTo>
                  <a:pt x="1667901" y="4152415"/>
                  <a:pt x="1648659" y="4144644"/>
                  <a:pt x="1639871" y="4156023"/>
                </a:cubicBezTo>
                <a:cubicBezTo>
                  <a:pt x="1556335" y="4264998"/>
                  <a:pt x="1498055" y="4201075"/>
                  <a:pt x="1502865" y="4133173"/>
                </a:cubicBezTo>
                <a:cubicBezTo>
                  <a:pt x="1506658" y="4080350"/>
                  <a:pt x="1541349" y="4018184"/>
                  <a:pt x="1586493" y="3986084"/>
                </a:cubicBezTo>
                <a:cubicBezTo>
                  <a:pt x="1640518" y="3947693"/>
                  <a:pt x="1757542" y="3989507"/>
                  <a:pt x="1691121" y="4061849"/>
                </a:cubicBezTo>
                <a:cubicBezTo>
                  <a:pt x="1629140" y="4002088"/>
                  <a:pt x="1595467" y="4063329"/>
                  <a:pt x="1639686" y="4105883"/>
                </a:cubicBezTo>
                <a:cubicBezTo>
                  <a:pt x="1673637" y="4138631"/>
                  <a:pt x="1747921" y="4144737"/>
                  <a:pt x="1766423" y="4035668"/>
                </a:cubicBezTo>
                <a:cubicBezTo>
                  <a:pt x="1813788" y="4063144"/>
                  <a:pt x="1849311" y="4058518"/>
                  <a:pt x="1867073" y="4049637"/>
                </a:cubicBezTo>
                <a:cubicBezTo>
                  <a:pt x="1864205" y="4030026"/>
                  <a:pt x="1847554" y="3998202"/>
                  <a:pt x="1797876" y="3975260"/>
                </a:cubicBezTo>
                <a:cubicBezTo>
                  <a:pt x="1876601" y="3897645"/>
                  <a:pt x="1829052" y="3840289"/>
                  <a:pt x="1782705" y="3831224"/>
                </a:cubicBezTo>
                <a:cubicBezTo>
                  <a:pt x="1722481" y="3819383"/>
                  <a:pt x="1691583" y="3882104"/>
                  <a:pt x="1776137" y="3898570"/>
                </a:cubicBezTo>
                <a:cubicBezTo>
                  <a:pt x="1754952" y="3994502"/>
                  <a:pt x="1653562" y="3922622"/>
                  <a:pt x="1654117" y="3856294"/>
                </a:cubicBezTo>
                <a:cubicBezTo>
                  <a:pt x="1654487" y="3800881"/>
                  <a:pt x="1685570" y="3736772"/>
                  <a:pt x="1726644" y="3703376"/>
                </a:cubicBezTo>
                <a:cubicBezTo>
                  <a:pt x="1779467" y="3660452"/>
                  <a:pt x="1865315" y="3671553"/>
                  <a:pt x="1823964" y="3802453"/>
                </a:cubicBezTo>
                <a:cubicBezTo>
                  <a:pt x="1819616" y="3816237"/>
                  <a:pt x="1837100" y="3827523"/>
                  <a:pt x="1847924" y="3815127"/>
                </a:cubicBezTo>
                <a:cubicBezTo>
                  <a:pt x="1870126" y="3789872"/>
                  <a:pt x="1877434" y="3763785"/>
                  <a:pt x="1873641" y="3738252"/>
                </a:cubicBezTo>
                <a:cubicBezTo>
                  <a:pt x="1950424" y="3814202"/>
                  <a:pt x="1911200" y="3879421"/>
                  <a:pt x="1916010" y="3897923"/>
                </a:cubicBezTo>
                <a:cubicBezTo>
                  <a:pt x="1918600" y="3907729"/>
                  <a:pt x="1929054" y="3911614"/>
                  <a:pt x="1937287" y="3905601"/>
                </a:cubicBezTo>
                <a:cubicBezTo>
                  <a:pt x="1973181" y="3879051"/>
                  <a:pt x="1988722" y="3790150"/>
                  <a:pt x="1943763" y="3720305"/>
                </a:cubicBezTo>
                <a:cubicBezTo>
                  <a:pt x="2002506" y="3724931"/>
                  <a:pt x="2050611" y="3715217"/>
                  <a:pt x="2089187" y="3699028"/>
                </a:cubicBezTo>
                <a:cubicBezTo>
                  <a:pt x="2083914" y="3657584"/>
                  <a:pt x="2068280" y="3610960"/>
                  <a:pt x="2034884" y="3562485"/>
                </a:cubicBezTo>
                <a:cubicBezTo>
                  <a:pt x="2117865" y="3566555"/>
                  <a:pt x="2187062" y="3508645"/>
                  <a:pt x="2192057" y="3464240"/>
                </a:cubicBezTo>
                <a:cubicBezTo>
                  <a:pt x="2193260" y="3454064"/>
                  <a:pt x="2184564" y="3446941"/>
                  <a:pt x="2174851" y="3449624"/>
                </a:cubicBezTo>
                <a:cubicBezTo>
                  <a:pt x="2156441" y="3454712"/>
                  <a:pt x="2119623" y="3521319"/>
                  <a:pt x="2015365" y="3492733"/>
                </a:cubicBezTo>
                <a:cubicBezTo>
                  <a:pt x="2039325" y="3483297"/>
                  <a:pt x="2058289" y="3463870"/>
                  <a:pt x="2069020" y="3432047"/>
                </a:cubicBezTo>
                <a:cubicBezTo>
                  <a:pt x="2074293" y="3416413"/>
                  <a:pt x="2055791" y="3406977"/>
                  <a:pt x="2046078" y="3417616"/>
                </a:cubicBezTo>
                <a:cubicBezTo>
                  <a:pt x="1953384" y="3518821"/>
                  <a:pt x="1900839" y="3450087"/>
                  <a:pt x="1911570" y="3382925"/>
                </a:cubicBezTo>
                <a:cubicBezTo>
                  <a:pt x="1919988" y="3330657"/>
                  <a:pt x="1959952" y="3271729"/>
                  <a:pt x="2007779" y="3243699"/>
                </a:cubicBezTo>
                <a:cubicBezTo>
                  <a:pt x="2064950" y="3210118"/>
                  <a:pt x="2177903" y="3262016"/>
                  <a:pt x="2105376" y="3328252"/>
                </a:cubicBezTo>
                <a:cubicBezTo>
                  <a:pt x="2048853" y="3263311"/>
                  <a:pt x="2009999" y="3321407"/>
                  <a:pt x="2050333" y="3367661"/>
                </a:cubicBezTo>
                <a:cubicBezTo>
                  <a:pt x="2081324" y="3403184"/>
                  <a:pt x="2154776" y="3415766"/>
                  <a:pt x="2182714" y="3308733"/>
                </a:cubicBezTo>
                <a:cubicBezTo>
                  <a:pt x="2227488" y="3340278"/>
                  <a:pt x="2263289" y="3338706"/>
                  <a:pt x="2281791" y="3331490"/>
                </a:cubicBezTo>
                <a:cubicBezTo>
                  <a:pt x="2280588" y="3311693"/>
                  <a:pt x="2266804" y="3278575"/>
                  <a:pt x="2219347" y="3251285"/>
                </a:cubicBezTo>
                <a:cubicBezTo>
                  <a:pt x="2304548" y="3180793"/>
                  <a:pt x="2262179" y="3119552"/>
                  <a:pt x="2216850" y="3106416"/>
                </a:cubicBezTo>
                <a:cubicBezTo>
                  <a:pt x="2157921" y="3089394"/>
                  <a:pt x="2121658" y="3149155"/>
                  <a:pt x="2204453" y="3172930"/>
                </a:cubicBezTo>
                <a:cubicBezTo>
                  <a:pt x="2175035" y="3266641"/>
                  <a:pt x="2080306" y="3186158"/>
                  <a:pt x="2086597" y="3120200"/>
                </a:cubicBezTo>
                <a:cubicBezTo>
                  <a:pt x="2091870" y="3064972"/>
                  <a:pt x="2128319" y="3003916"/>
                  <a:pt x="2172168" y="2974220"/>
                </a:cubicBezTo>
                <a:cubicBezTo>
                  <a:pt x="2228506" y="2936107"/>
                  <a:pt x="2313059" y="2954608"/>
                  <a:pt x="2260514" y="3081438"/>
                </a:cubicBezTo>
                <a:cubicBezTo>
                  <a:pt x="2254963" y="3094760"/>
                  <a:pt x="2271430" y="3107526"/>
                  <a:pt x="2283271" y="3096147"/>
                </a:cubicBezTo>
                <a:cubicBezTo>
                  <a:pt x="2307601" y="3072928"/>
                  <a:pt x="2317129" y="3047580"/>
                  <a:pt x="2315557" y="3021862"/>
                </a:cubicBezTo>
                <a:cubicBezTo>
                  <a:pt x="2385493" y="3104288"/>
                  <a:pt x="2340627" y="3165714"/>
                  <a:pt x="2343864" y="3184586"/>
                </a:cubicBezTo>
                <a:cubicBezTo>
                  <a:pt x="2345530" y="3194577"/>
                  <a:pt x="2355613" y="3199387"/>
                  <a:pt x="2364401" y="3194022"/>
                </a:cubicBezTo>
                <a:cubicBezTo>
                  <a:pt x="2402515" y="3170709"/>
                  <a:pt x="2425735" y="3083473"/>
                  <a:pt x="2386974" y="3010021"/>
                </a:cubicBezTo>
                <a:cubicBezTo>
                  <a:pt x="2495672" y="3029171"/>
                  <a:pt x="2571899" y="2993740"/>
                  <a:pt x="2617414" y="2957939"/>
                </a:cubicBezTo>
                <a:close/>
                <a:moveTo>
                  <a:pt x="2249413" y="1202951"/>
                </a:moveTo>
                <a:cubicBezTo>
                  <a:pt x="2210837" y="1275293"/>
                  <a:pt x="2134424" y="1354388"/>
                  <a:pt x="1986872" y="1354573"/>
                </a:cubicBezTo>
                <a:cubicBezTo>
                  <a:pt x="2060787" y="1226818"/>
                  <a:pt x="2167450" y="1200175"/>
                  <a:pt x="2249413" y="1202951"/>
                </a:cubicBezTo>
                <a:close/>
                <a:moveTo>
                  <a:pt x="437346" y="472592"/>
                </a:moveTo>
                <a:cubicBezTo>
                  <a:pt x="426245" y="463156"/>
                  <a:pt x="413201" y="455570"/>
                  <a:pt x="397937" y="450575"/>
                </a:cubicBezTo>
                <a:cubicBezTo>
                  <a:pt x="411721" y="443359"/>
                  <a:pt x="424302" y="431888"/>
                  <a:pt x="434941" y="418659"/>
                </a:cubicBezTo>
                <a:cubicBezTo>
                  <a:pt x="446690" y="430963"/>
                  <a:pt x="460196" y="441232"/>
                  <a:pt x="474627" y="447245"/>
                </a:cubicBezTo>
                <a:cubicBezTo>
                  <a:pt x="459918" y="453535"/>
                  <a:pt x="447522" y="462231"/>
                  <a:pt x="437346" y="472592"/>
                </a:cubicBezTo>
                <a:close/>
                <a:moveTo>
                  <a:pt x="788880" y="349278"/>
                </a:moveTo>
                <a:cubicBezTo>
                  <a:pt x="763440" y="203946"/>
                  <a:pt x="828012" y="114860"/>
                  <a:pt x="892583" y="64350"/>
                </a:cubicBezTo>
                <a:cubicBezTo>
                  <a:pt x="909512" y="144555"/>
                  <a:pt x="901741" y="254271"/>
                  <a:pt x="788880" y="349278"/>
                </a:cubicBezTo>
                <a:close/>
                <a:moveTo>
                  <a:pt x="978894" y="669729"/>
                </a:moveTo>
                <a:cubicBezTo>
                  <a:pt x="977784" y="655205"/>
                  <a:pt x="973806" y="640588"/>
                  <a:pt x="966590" y="626342"/>
                </a:cubicBezTo>
                <a:cubicBezTo>
                  <a:pt x="981484" y="630967"/>
                  <a:pt x="998413" y="631800"/>
                  <a:pt x="1015342" y="629950"/>
                </a:cubicBezTo>
                <a:cubicBezTo>
                  <a:pt x="1014972" y="646972"/>
                  <a:pt x="1017285" y="663808"/>
                  <a:pt x="1023206" y="678240"/>
                </a:cubicBezTo>
                <a:cubicBezTo>
                  <a:pt x="1008312" y="672226"/>
                  <a:pt x="993418" y="669544"/>
                  <a:pt x="978894" y="669729"/>
                </a:cubicBezTo>
                <a:close/>
                <a:moveTo>
                  <a:pt x="1311649" y="964832"/>
                </a:moveTo>
                <a:cubicBezTo>
                  <a:pt x="1302490" y="970290"/>
                  <a:pt x="1292314" y="975008"/>
                  <a:pt x="1281398" y="978801"/>
                </a:cubicBezTo>
                <a:cubicBezTo>
                  <a:pt x="1283249" y="967423"/>
                  <a:pt x="1286116" y="956599"/>
                  <a:pt x="1289909" y="946608"/>
                </a:cubicBezTo>
                <a:cubicBezTo>
                  <a:pt x="1302120" y="914785"/>
                  <a:pt x="1328208" y="890455"/>
                  <a:pt x="1355036" y="891103"/>
                </a:cubicBezTo>
                <a:cubicBezTo>
                  <a:pt x="1360216" y="917375"/>
                  <a:pt x="1340882" y="947256"/>
                  <a:pt x="1311649" y="964832"/>
                </a:cubicBezTo>
                <a:close/>
                <a:moveTo>
                  <a:pt x="1421087" y="920428"/>
                </a:moveTo>
                <a:cubicBezTo>
                  <a:pt x="1421087" y="920428"/>
                  <a:pt x="1421087" y="920428"/>
                  <a:pt x="1421087" y="920428"/>
                </a:cubicBezTo>
                <a:cubicBezTo>
                  <a:pt x="1421087" y="920336"/>
                  <a:pt x="1421087" y="920336"/>
                  <a:pt x="1421087" y="920428"/>
                </a:cubicBezTo>
                <a:cubicBezTo>
                  <a:pt x="1414334" y="895081"/>
                  <a:pt x="1410541" y="871213"/>
                  <a:pt x="1409246" y="848919"/>
                </a:cubicBezTo>
                <a:cubicBezTo>
                  <a:pt x="1408783" y="841425"/>
                  <a:pt x="1408691" y="834210"/>
                  <a:pt x="1408783" y="827087"/>
                </a:cubicBezTo>
                <a:cubicBezTo>
                  <a:pt x="1380753" y="832452"/>
                  <a:pt x="1349578" y="834210"/>
                  <a:pt x="1314702" y="831157"/>
                </a:cubicBezTo>
                <a:cubicBezTo>
                  <a:pt x="1314702" y="831157"/>
                  <a:pt x="1314702" y="831157"/>
                  <a:pt x="1314702" y="831157"/>
                </a:cubicBezTo>
                <a:cubicBezTo>
                  <a:pt x="1314702" y="831157"/>
                  <a:pt x="1314702" y="831157"/>
                  <a:pt x="1314702" y="831157"/>
                </a:cubicBezTo>
                <a:cubicBezTo>
                  <a:pt x="1359754" y="766956"/>
                  <a:pt x="1411651" y="731987"/>
                  <a:pt x="1462531" y="714781"/>
                </a:cubicBezTo>
                <a:cubicBezTo>
                  <a:pt x="1471042" y="711913"/>
                  <a:pt x="1479460" y="709508"/>
                  <a:pt x="1487878" y="707657"/>
                </a:cubicBezTo>
                <a:cubicBezTo>
                  <a:pt x="1496297" y="705715"/>
                  <a:pt x="1504623" y="704235"/>
                  <a:pt x="1512856" y="703124"/>
                </a:cubicBezTo>
                <a:cubicBezTo>
                  <a:pt x="1513411" y="715613"/>
                  <a:pt x="1513041" y="728379"/>
                  <a:pt x="1511746" y="741516"/>
                </a:cubicBezTo>
                <a:cubicBezTo>
                  <a:pt x="1505918" y="798224"/>
                  <a:pt x="1481125" y="860205"/>
                  <a:pt x="1421087" y="920428"/>
                </a:cubicBezTo>
                <a:close/>
                <a:moveTo>
                  <a:pt x="1638298" y="1223025"/>
                </a:moveTo>
                <a:cubicBezTo>
                  <a:pt x="1635893" y="1208686"/>
                  <a:pt x="1630712" y="1194440"/>
                  <a:pt x="1622294" y="1180841"/>
                </a:cubicBezTo>
                <a:cubicBezTo>
                  <a:pt x="1637558" y="1184171"/>
                  <a:pt x="1654487" y="1183524"/>
                  <a:pt x="1671231" y="1180193"/>
                </a:cubicBezTo>
                <a:cubicBezTo>
                  <a:pt x="1672341" y="1197215"/>
                  <a:pt x="1676134" y="1213682"/>
                  <a:pt x="1683258" y="1227558"/>
                </a:cubicBezTo>
                <a:cubicBezTo>
                  <a:pt x="1667901" y="1222933"/>
                  <a:pt x="1652822" y="1221637"/>
                  <a:pt x="1638298" y="1223025"/>
                </a:cubicBezTo>
                <a:close/>
                <a:moveTo>
                  <a:pt x="1954957" y="1757080"/>
                </a:moveTo>
                <a:cubicBezTo>
                  <a:pt x="1947463" y="1743018"/>
                  <a:pt x="1937657" y="1731362"/>
                  <a:pt x="1926464" y="1722111"/>
                </a:cubicBezTo>
                <a:cubicBezTo>
                  <a:pt x="1934882" y="1710270"/>
                  <a:pt x="1941358" y="1696579"/>
                  <a:pt x="1944966" y="1680945"/>
                </a:cubicBezTo>
                <a:cubicBezTo>
                  <a:pt x="1953384" y="1694081"/>
                  <a:pt x="1965873" y="1705552"/>
                  <a:pt x="1980026" y="1715080"/>
                </a:cubicBezTo>
                <a:cubicBezTo>
                  <a:pt x="1968740" y="1727939"/>
                  <a:pt x="1959674" y="1742278"/>
                  <a:pt x="1954957" y="1757080"/>
                </a:cubicBezTo>
                <a:close/>
                <a:moveTo>
                  <a:pt x="1991683" y="2162084"/>
                </a:moveTo>
                <a:cubicBezTo>
                  <a:pt x="1981137" y="2160419"/>
                  <a:pt x="1970313" y="2157458"/>
                  <a:pt x="1959582" y="2153388"/>
                </a:cubicBezTo>
                <a:cubicBezTo>
                  <a:pt x="1968278" y="2145895"/>
                  <a:pt x="1977436" y="2139419"/>
                  <a:pt x="1986780" y="2134146"/>
                </a:cubicBezTo>
                <a:cubicBezTo>
                  <a:pt x="2016568" y="2117587"/>
                  <a:pt x="2052183" y="2115829"/>
                  <a:pt x="2072350" y="2133499"/>
                </a:cubicBezTo>
                <a:cubicBezTo>
                  <a:pt x="2059399" y="2156996"/>
                  <a:pt x="2025356" y="2167449"/>
                  <a:pt x="1991683" y="2162084"/>
                </a:cubicBezTo>
                <a:close/>
                <a:moveTo>
                  <a:pt x="2313984" y="2090852"/>
                </a:moveTo>
                <a:cubicBezTo>
                  <a:pt x="2303808" y="2103988"/>
                  <a:pt x="2292152" y="2116754"/>
                  <a:pt x="2278738" y="2128596"/>
                </a:cubicBezTo>
                <a:cubicBezTo>
                  <a:pt x="2238404" y="2164119"/>
                  <a:pt x="2182251" y="2191502"/>
                  <a:pt x="2104081" y="2198440"/>
                </a:cubicBezTo>
                <a:cubicBezTo>
                  <a:pt x="2104081" y="2198440"/>
                  <a:pt x="2104081" y="2198440"/>
                  <a:pt x="2104081" y="2198440"/>
                </a:cubicBezTo>
                <a:cubicBezTo>
                  <a:pt x="2104081" y="2198440"/>
                  <a:pt x="2104081" y="2198440"/>
                  <a:pt x="2104081" y="2198440"/>
                </a:cubicBezTo>
                <a:cubicBezTo>
                  <a:pt x="2118883" y="2166802"/>
                  <a:pt x="2136089" y="2140529"/>
                  <a:pt x="2154683" y="2118975"/>
                </a:cubicBezTo>
                <a:cubicBezTo>
                  <a:pt x="2129799" y="2105098"/>
                  <a:pt x="2104729" y="2086319"/>
                  <a:pt x="2079936" y="2061619"/>
                </a:cubicBezTo>
                <a:cubicBezTo>
                  <a:pt x="2181049" y="2034606"/>
                  <a:pt x="2257924" y="2055236"/>
                  <a:pt x="2313984" y="2090852"/>
                </a:cubicBezTo>
                <a:close/>
                <a:moveTo>
                  <a:pt x="2107411" y="2602242"/>
                </a:moveTo>
                <a:cubicBezTo>
                  <a:pt x="2098716" y="2588828"/>
                  <a:pt x="2087985" y="2578097"/>
                  <a:pt x="2075958" y="2569864"/>
                </a:cubicBezTo>
                <a:cubicBezTo>
                  <a:pt x="2083359" y="2557282"/>
                  <a:pt x="2088540" y="2543128"/>
                  <a:pt x="2090760" y="2527309"/>
                </a:cubicBezTo>
                <a:cubicBezTo>
                  <a:pt x="2100288" y="2539613"/>
                  <a:pt x="2113702" y="2549974"/>
                  <a:pt x="2128596" y="2558207"/>
                </a:cubicBezTo>
                <a:cubicBezTo>
                  <a:pt x="2118605" y="2571991"/>
                  <a:pt x="2110834" y="2586978"/>
                  <a:pt x="2107411" y="2602242"/>
                </a:cubicBezTo>
                <a:close/>
                <a:moveTo>
                  <a:pt x="315697" y="4597661"/>
                </a:moveTo>
                <a:cubicBezTo>
                  <a:pt x="300433" y="4590167"/>
                  <a:pt x="284244" y="4585080"/>
                  <a:pt x="268610" y="4584339"/>
                </a:cubicBezTo>
                <a:cubicBezTo>
                  <a:pt x="280266" y="4573423"/>
                  <a:pt x="288962" y="4561027"/>
                  <a:pt x="294975" y="4547798"/>
                </a:cubicBezTo>
                <a:cubicBezTo>
                  <a:pt x="308574" y="4552886"/>
                  <a:pt x="323560" y="4555569"/>
                  <a:pt x="339472" y="4555014"/>
                </a:cubicBezTo>
                <a:cubicBezTo>
                  <a:pt x="329111" y="4566578"/>
                  <a:pt x="321247" y="4581564"/>
                  <a:pt x="315697" y="4597661"/>
                </a:cubicBezTo>
                <a:close/>
                <a:moveTo>
                  <a:pt x="685085" y="4360838"/>
                </a:moveTo>
                <a:cubicBezTo>
                  <a:pt x="693966" y="4368146"/>
                  <a:pt x="702014" y="4376009"/>
                  <a:pt x="708675" y="4384335"/>
                </a:cubicBezTo>
                <a:cubicBezTo>
                  <a:pt x="730230" y="4410793"/>
                  <a:pt x="738093" y="4445576"/>
                  <a:pt x="724217" y="4468518"/>
                </a:cubicBezTo>
                <a:cubicBezTo>
                  <a:pt x="698869" y="4459915"/>
                  <a:pt x="682588" y="4428184"/>
                  <a:pt x="682033" y="4394049"/>
                </a:cubicBezTo>
                <a:cubicBezTo>
                  <a:pt x="681848" y="4383317"/>
                  <a:pt x="682865" y="4372124"/>
                  <a:pt x="685085" y="4360838"/>
                </a:cubicBezTo>
                <a:close/>
                <a:moveTo>
                  <a:pt x="823201" y="4649651"/>
                </a:moveTo>
                <a:cubicBezTo>
                  <a:pt x="819686" y="4667228"/>
                  <a:pt x="814505" y="4683694"/>
                  <a:pt x="808122" y="4699051"/>
                </a:cubicBezTo>
                <a:cubicBezTo>
                  <a:pt x="800722" y="4695165"/>
                  <a:pt x="793413" y="4691002"/>
                  <a:pt x="786198" y="4686284"/>
                </a:cubicBezTo>
                <a:cubicBezTo>
                  <a:pt x="778982" y="4681566"/>
                  <a:pt x="771859" y="4676479"/>
                  <a:pt x="764828" y="4670928"/>
                </a:cubicBezTo>
                <a:cubicBezTo>
                  <a:pt x="722922" y="4637347"/>
                  <a:pt x="686103" y="4586837"/>
                  <a:pt x="665751" y="4511072"/>
                </a:cubicBezTo>
                <a:cubicBezTo>
                  <a:pt x="665751" y="4511072"/>
                  <a:pt x="665751" y="4511072"/>
                  <a:pt x="665751" y="4511072"/>
                </a:cubicBezTo>
                <a:cubicBezTo>
                  <a:pt x="665751" y="4511072"/>
                  <a:pt x="665751" y="4511072"/>
                  <a:pt x="665751" y="4511072"/>
                </a:cubicBezTo>
                <a:cubicBezTo>
                  <a:pt x="699517" y="4520138"/>
                  <a:pt x="728287" y="4532535"/>
                  <a:pt x="752802" y="4547058"/>
                </a:cubicBezTo>
                <a:cubicBezTo>
                  <a:pt x="755115" y="4540305"/>
                  <a:pt x="757797" y="4533552"/>
                  <a:pt x="760758" y="4526706"/>
                </a:cubicBezTo>
                <a:cubicBezTo>
                  <a:pt x="769639" y="4506169"/>
                  <a:pt x="781295" y="4485077"/>
                  <a:pt x="796281" y="4463523"/>
                </a:cubicBezTo>
                <a:cubicBezTo>
                  <a:pt x="796281" y="4463523"/>
                  <a:pt x="796281" y="4463523"/>
                  <a:pt x="796281" y="4463523"/>
                </a:cubicBezTo>
                <a:cubicBezTo>
                  <a:pt x="796281" y="4463523"/>
                  <a:pt x="796281" y="4463523"/>
                  <a:pt x="796281" y="4463523"/>
                </a:cubicBezTo>
                <a:cubicBezTo>
                  <a:pt x="829399" y="4534662"/>
                  <a:pt x="833747" y="4597013"/>
                  <a:pt x="823201" y="4649651"/>
                </a:cubicBezTo>
                <a:close/>
                <a:moveTo>
                  <a:pt x="1120155" y="4304870"/>
                </a:moveTo>
                <a:cubicBezTo>
                  <a:pt x="1105539" y="4296082"/>
                  <a:pt x="1089905" y="4289606"/>
                  <a:pt x="1074456" y="4287478"/>
                </a:cubicBezTo>
                <a:cubicBezTo>
                  <a:pt x="1087037" y="4277580"/>
                  <a:pt x="1096750" y="4266016"/>
                  <a:pt x="1103966" y="4253342"/>
                </a:cubicBezTo>
                <a:cubicBezTo>
                  <a:pt x="1117102" y="4259633"/>
                  <a:pt x="1131719" y="4263518"/>
                  <a:pt x="1147723" y="4264443"/>
                </a:cubicBezTo>
                <a:cubicBezTo>
                  <a:pt x="1136252" y="4274990"/>
                  <a:pt x="1127093" y="4289328"/>
                  <a:pt x="1120155" y="4304870"/>
                </a:cubicBezTo>
                <a:close/>
                <a:moveTo>
                  <a:pt x="1671416" y="4481284"/>
                </a:moveTo>
                <a:cubicBezTo>
                  <a:pt x="1593431" y="4455845"/>
                  <a:pt x="1502310" y="4394326"/>
                  <a:pt x="1476500" y="4248994"/>
                </a:cubicBezTo>
                <a:cubicBezTo>
                  <a:pt x="1615078" y="4299689"/>
                  <a:pt x="1659853" y="4400154"/>
                  <a:pt x="1671416" y="4481284"/>
                </a:cubicBezTo>
                <a:close/>
                <a:moveTo>
                  <a:pt x="1548749" y="3927896"/>
                </a:moveTo>
                <a:cubicBezTo>
                  <a:pt x="1550692" y="3912077"/>
                  <a:pt x="1549397" y="3896905"/>
                  <a:pt x="1545419" y="3882936"/>
                </a:cubicBezTo>
                <a:cubicBezTo>
                  <a:pt x="1559110" y="3878126"/>
                  <a:pt x="1572247" y="3870540"/>
                  <a:pt x="1584180" y="3859809"/>
                </a:cubicBezTo>
                <a:cubicBezTo>
                  <a:pt x="1583533" y="3875350"/>
                  <a:pt x="1587141" y="3892002"/>
                  <a:pt x="1593339" y="3907821"/>
                </a:cubicBezTo>
                <a:cubicBezTo>
                  <a:pt x="1576780" y="3911892"/>
                  <a:pt x="1561146" y="3918460"/>
                  <a:pt x="1548749" y="3927896"/>
                </a:cubicBezTo>
                <a:close/>
                <a:moveTo>
                  <a:pt x="1743018" y="3516416"/>
                </a:moveTo>
                <a:cubicBezTo>
                  <a:pt x="1735988" y="3508367"/>
                  <a:pt x="1729605" y="3499116"/>
                  <a:pt x="1723962" y="3489033"/>
                </a:cubicBezTo>
                <a:cubicBezTo>
                  <a:pt x="1735525" y="3488940"/>
                  <a:pt x="1746626" y="3489773"/>
                  <a:pt x="1757172" y="3491808"/>
                </a:cubicBezTo>
                <a:cubicBezTo>
                  <a:pt x="1790661" y="3498284"/>
                  <a:pt x="1819061" y="3519838"/>
                  <a:pt x="1823131" y="3546296"/>
                </a:cubicBezTo>
                <a:cubicBezTo>
                  <a:pt x="1798246" y="3556010"/>
                  <a:pt x="1765406" y="3542133"/>
                  <a:pt x="1743018" y="3516416"/>
                </a:cubicBezTo>
                <a:close/>
                <a:moveTo>
                  <a:pt x="2015457" y="3621506"/>
                </a:moveTo>
                <a:cubicBezTo>
                  <a:pt x="2024061" y="3637232"/>
                  <a:pt x="2030629" y="3653144"/>
                  <a:pt x="2035624" y="3668963"/>
                </a:cubicBezTo>
                <a:cubicBezTo>
                  <a:pt x="2031554" y="3669888"/>
                  <a:pt x="2027484" y="3670628"/>
                  <a:pt x="2023321" y="3671368"/>
                </a:cubicBezTo>
                <a:cubicBezTo>
                  <a:pt x="2014995" y="3672848"/>
                  <a:pt x="2006484" y="3673866"/>
                  <a:pt x="1997696" y="3674514"/>
                </a:cubicBezTo>
                <a:cubicBezTo>
                  <a:pt x="1940803" y="3678769"/>
                  <a:pt x="1875399" y="3665077"/>
                  <a:pt x="1805739" y="3616418"/>
                </a:cubicBezTo>
                <a:cubicBezTo>
                  <a:pt x="1805739" y="3616418"/>
                  <a:pt x="1805739" y="3616418"/>
                  <a:pt x="1805739" y="3616418"/>
                </a:cubicBezTo>
                <a:cubicBezTo>
                  <a:pt x="1805739" y="3616418"/>
                  <a:pt x="1805739" y="3616418"/>
                  <a:pt x="1805739" y="3616418"/>
                </a:cubicBezTo>
                <a:cubicBezTo>
                  <a:pt x="1828497" y="3605872"/>
                  <a:pt x="1850329" y="3598194"/>
                  <a:pt x="1871328" y="3593105"/>
                </a:cubicBezTo>
                <a:cubicBezTo>
                  <a:pt x="1875861" y="3591995"/>
                  <a:pt x="1880487" y="3590885"/>
                  <a:pt x="1884927" y="3590053"/>
                </a:cubicBezTo>
                <a:cubicBezTo>
                  <a:pt x="1888535" y="3589313"/>
                  <a:pt x="1892050" y="3588665"/>
                  <a:pt x="1895566" y="3588110"/>
                </a:cubicBezTo>
                <a:cubicBezTo>
                  <a:pt x="1885482" y="3561468"/>
                  <a:pt x="1878266" y="3531032"/>
                  <a:pt x="1875214" y="3496156"/>
                </a:cubicBezTo>
                <a:cubicBezTo>
                  <a:pt x="1875214" y="3496156"/>
                  <a:pt x="1875214" y="3496156"/>
                  <a:pt x="1875214" y="3496156"/>
                </a:cubicBezTo>
                <a:cubicBezTo>
                  <a:pt x="1875214" y="3496156"/>
                  <a:pt x="1875214" y="3496156"/>
                  <a:pt x="1875214" y="3496156"/>
                </a:cubicBezTo>
                <a:cubicBezTo>
                  <a:pt x="1946353" y="3529367"/>
                  <a:pt x="1989740" y="3574326"/>
                  <a:pt x="2015457" y="3621506"/>
                </a:cubicBezTo>
                <a:close/>
                <a:moveTo>
                  <a:pt x="1975216" y="3182550"/>
                </a:moveTo>
                <a:cubicBezTo>
                  <a:pt x="1978546" y="3166916"/>
                  <a:pt x="1978546" y="3151745"/>
                  <a:pt x="1975863" y="3137406"/>
                </a:cubicBezTo>
                <a:cubicBezTo>
                  <a:pt x="1989925" y="3133798"/>
                  <a:pt x="2003709" y="3127415"/>
                  <a:pt x="2016475" y="3117794"/>
                </a:cubicBezTo>
                <a:cubicBezTo>
                  <a:pt x="2014532" y="3133243"/>
                  <a:pt x="2016660" y="3150080"/>
                  <a:pt x="2021378" y="3166454"/>
                </a:cubicBezTo>
                <a:cubicBezTo>
                  <a:pt x="2004541" y="3169044"/>
                  <a:pt x="1988352" y="3174225"/>
                  <a:pt x="1975216" y="3182550"/>
                </a:cubicBezTo>
                <a:close/>
                <a:moveTo>
                  <a:pt x="2258386" y="2894663"/>
                </a:moveTo>
                <a:cubicBezTo>
                  <a:pt x="2397150" y="2844338"/>
                  <a:pt x="2496042" y="2892535"/>
                  <a:pt x="2557005" y="2947300"/>
                </a:cubicBezTo>
                <a:cubicBezTo>
                  <a:pt x="2480963" y="2978013"/>
                  <a:pt x="2371617" y="2989392"/>
                  <a:pt x="2258386" y="289466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05" name="Freeform: Shape 504">
            <a:extLst>
              <a:ext uri="{FF2B5EF4-FFF2-40B4-BE49-F238E27FC236}">
                <a16:creationId xmlns="" xmlns:a16="http://schemas.microsoft.com/office/drawing/2014/main" id="{27004EA2-F743-4F16-8245-2F9DFB7FB85F}"/>
              </a:ext>
            </a:extLst>
          </p:cNvPr>
          <p:cNvSpPr/>
          <p:nvPr/>
        </p:nvSpPr>
        <p:spPr>
          <a:xfrm>
            <a:off x="652132" y="4504263"/>
            <a:ext cx="92509" cy="46254"/>
          </a:xfrm>
          <a:custGeom>
            <a:avLst/>
            <a:gdLst>
              <a:gd name="connsiteX0" fmla="*/ 6717 w 92509"/>
              <a:gd name="connsiteY0" fmla="*/ 6717 h 46254"/>
              <a:gd name="connsiteX1" fmla="*/ 6717 w 92509"/>
              <a:gd name="connsiteY1" fmla="*/ 6717 h 46254"/>
              <a:gd name="connsiteX2" fmla="*/ 93768 w 92509"/>
              <a:gd name="connsiteY2" fmla="*/ 42703 h 46254"/>
              <a:gd name="connsiteX3" fmla="*/ 6717 w 92509"/>
              <a:gd name="connsiteY3" fmla="*/ 6717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09" h="46254">
                <a:moveTo>
                  <a:pt x="6717" y="6717"/>
                </a:moveTo>
                <a:cubicBezTo>
                  <a:pt x="6717" y="6717"/>
                  <a:pt x="6717" y="6717"/>
                  <a:pt x="6717" y="6717"/>
                </a:cubicBezTo>
                <a:cubicBezTo>
                  <a:pt x="40483" y="15783"/>
                  <a:pt x="69253" y="28179"/>
                  <a:pt x="93768" y="42703"/>
                </a:cubicBezTo>
                <a:cubicBezTo>
                  <a:pt x="69253" y="28179"/>
                  <a:pt x="40575" y="1587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06" name="Freeform: Shape 505">
            <a:extLst>
              <a:ext uri="{FF2B5EF4-FFF2-40B4-BE49-F238E27FC236}">
                <a16:creationId xmlns="" xmlns:a16="http://schemas.microsoft.com/office/drawing/2014/main" id="{CAE94E0F-0DD9-4180-B730-F34393A85415}"/>
              </a:ext>
            </a:extLst>
          </p:cNvPr>
          <p:cNvSpPr/>
          <p:nvPr/>
        </p:nvSpPr>
        <p:spPr>
          <a:xfrm>
            <a:off x="782663" y="4456806"/>
            <a:ext cx="37004" cy="194269"/>
          </a:xfrm>
          <a:custGeom>
            <a:avLst/>
            <a:gdLst>
              <a:gd name="connsiteX0" fmla="*/ 6717 w 37003"/>
              <a:gd name="connsiteY0" fmla="*/ 6717 h 194268"/>
              <a:gd name="connsiteX1" fmla="*/ 33544 w 37003"/>
              <a:gd name="connsiteY1" fmla="*/ 192845 h 194268"/>
              <a:gd name="connsiteX2" fmla="*/ 6717 w 37003"/>
              <a:gd name="connsiteY2" fmla="*/ 6717 h 194268"/>
              <a:gd name="connsiteX3" fmla="*/ 6717 w 37003"/>
              <a:gd name="connsiteY3" fmla="*/ 6717 h 194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03" h="194268">
                <a:moveTo>
                  <a:pt x="6717" y="6717"/>
                </a:moveTo>
                <a:cubicBezTo>
                  <a:pt x="39835" y="77856"/>
                  <a:pt x="44183" y="140207"/>
                  <a:pt x="33544" y="192845"/>
                </a:cubicBezTo>
                <a:cubicBezTo>
                  <a:pt x="44183" y="140207"/>
                  <a:pt x="39835" y="77856"/>
                  <a:pt x="6717" y="6717"/>
                </a:cubicBezTo>
                <a:cubicBezTo>
                  <a:pt x="6717" y="6717"/>
                  <a:pt x="6717" y="671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07" name="Freeform: Shape 506">
            <a:extLst>
              <a:ext uri="{FF2B5EF4-FFF2-40B4-BE49-F238E27FC236}">
                <a16:creationId xmlns="" xmlns:a16="http://schemas.microsoft.com/office/drawing/2014/main" id="{463174F9-DEF9-4C3C-BF5A-9EB36D7EF2C0}"/>
              </a:ext>
            </a:extLst>
          </p:cNvPr>
          <p:cNvSpPr/>
          <p:nvPr/>
        </p:nvSpPr>
        <p:spPr>
          <a:xfrm>
            <a:off x="-6717" y="310090"/>
            <a:ext cx="9251" cy="9251"/>
          </a:xfrm>
          <a:custGeom>
            <a:avLst/>
            <a:gdLst>
              <a:gd name="connsiteX0" fmla="*/ 6717 w 9250"/>
              <a:gd name="connsiteY0" fmla="*/ 6717 h 9250"/>
              <a:gd name="connsiteX1" fmla="*/ 6717 w 9250"/>
              <a:gd name="connsiteY1" fmla="*/ 6717 h 9250"/>
              <a:gd name="connsiteX2" fmla="*/ 6717 w 9250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6717" y="6717"/>
                </a:moveTo>
                <a:lnTo>
                  <a:pt x="6717" y="6717"/>
                </a:lnTo>
                <a:lnTo>
                  <a:pt x="6717" y="6717"/>
                </a:ln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08" name="Freeform: Shape 507">
            <a:extLst>
              <a:ext uri="{FF2B5EF4-FFF2-40B4-BE49-F238E27FC236}">
                <a16:creationId xmlns="" xmlns:a16="http://schemas.microsoft.com/office/drawing/2014/main" id="{B1CDC2E4-CF1F-4462-9F6C-66D33D60236E}"/>
              </a:ext>
            </a:extLst>
          </p:cNvPr>
          <p:cNvSpPr/>
          <p:nvPr/>
        </p:nvSpPr>
        <p:spPr>
          <a:xfrm>
            <a:off x="-6717" y="310090"/>
            <a:ext cx="18502" cy="18502"/>
          </a:xfrm>
          <a:custGeom>
            <a:avLst/>
            <a:gdLst>
              <a:gd name="connsiteX0" fmla="*/ 6717 w 18501"/>
              <a:gd name="connsiteY0" fmla="*/ 6717 h 18501"/>
              <a:gd name="connsiteX1" fmla="*/ 17633 w 18501"/>
              <a:gd name="connsiteY1" fmla="*/ 19205 h 18501"/>
              <a:gd name="connsiteX2" fmla="*/ 6717 w 18501"/>
              <a:gd name="connsiteY2" fmla="*/ 6717 h 18501"/>
              <a:gd name="connsiteX3" fmla="*/ 6717 w 18501"/>
              <a:gd name="connsiteY3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18501">
                <a:moveTo>
                  <a:pt x="6717" y="6717"/>
                </a:moveTo>
                <a:cubicBezTo>
                  <a:pt x="10140" y="10880"/>
                  <a:pt x="13840" y="15135"/>
                  <a:pt x="17633" y="19205"/>
                </a:cubicBezTo>
                <a:cubicBezTo>
                  <a:pt x="13840" y="15043"/>
                  <a:pt x="10140" y="10880"/>
                  <a:pt x="6717" y="6717"/>
                </a:cubicBezTo>
                <a:lnTo>
                  <a:pt x="6717" y="6717"/>
                </a:ln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09" name="Freeform: Shape 508">
            <a:extLst>
              <a:ext uri="{FF2B5EF4-FFF2-40B4-BE49-F238E27FC236}">
                <a16:creationId xmlns="" xmlns:a16="http://schemas.microsoft.com/office/drawing/2014/main" id="{C1076FB3-778E-4955-B746-86EECB752AA9}"/>
              </a:ext>
            </a:extLst>
          </p:cNvPr>
          <p:cNvSpPr/>
          <p:nvPr/>
        </p:nvSpPr>
        <p:spPr>
          <a:xfrm>
            <a:off x="11600" y="330535"/>
            <a:ext cx="55505" cy="55505"/>
          </a:xfrm>
          <a:custGeom>
            <a:avLst/>
            <a:gdLst>
              <a:gd name="connsiteX0" fmla="*/ 6717 w 55505"/>
              <a:gd name="connsiteY0" fmla="*/ 6717 h 55505"/>
              <a:gd name="connsiteX1" fmla="*/ 57782 w 55505"/>
              <a:gd name="connsiteY1" fmla="*/ 49918 h 55505"/>
              <a:gd name="connsiteX2" fmla="*/ 57782 w 55505"/>
              <a:gd name="connsiteY2" fmla="*/ 49918 h 55505"/>
              <a:gd name="connsiteX3" fmla="*/ 6717 w 55505"/>
              <a:gd name="connsiteY3" fmla="*/ 6717 h 55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55505">
                <a:moveTo>
                  <a:pt x="6717" y="6717"/>
                </a:moveTo>
                <a:cubicBezTo>
                  <a:pt x="21241" y="21611"/>
                  <a:pt x="38170" y="36042"/>
                  <a:pt x="57782" y="49918"/>
                </a:cubicBezTo>
                <a:cubicBezTo>
                  <a:pt x="57782" y="49918"/>
                  <a:pt x="57782" y="49918"/>
                  <a:pt x="57782" y="49918"/>
                </a:cubicBezTo>
                <a:cubicBezTo>
                  <a:pt x="38170" y="36042"/>
                  <a:pt x="21241" y="21518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0" name="Freeform: Shape 509">
            <a:extLst>
              <a:ext uri="{FF2B5EF4-FFF2-40B4-BE49-F238E27FC236}">
                <a16:creationId xmlns="" xmlns:a16="http://schemas.microsoft.com/office/drawing/2014/main" id="{80FDF3D4-FF5C-4D1F-AE9D-E7EA05046D0A}"/>
              </a:ext>
            </a:extLst>
          </p:cNvPr>
          <p:cNvSpPr/>
          <p:nvPr/>
        </p:nvSpPr>
        <p:spPr>
          <a:xfrm>
            <a:off x="1395627" y="842202"/>
            <a:ext cx="18502" cy="83258"/>
          </a:xfrm>
          <a:custGeom>
            <a:avLst/>
            <a:gdLst>
              <a:gd name="connsiteX0" fmla="*/ 18558 w 18501"/>
              <a:gd name="connsiteY0" fmla="*/ 78226 h 83258"/>
              <a:gd name="connsiteX1" fmla="*/ 18558 w 18501"/>
              <a:gd name="connsiteY1" fmla="*/ 78226 h 83258"/>
              <a:gd name="connsiteX2" fmla="*/ 6717 w 18501"/>
              <a:gd name="connsiteY2" fmla="*/ 6717 h 83258"/>
              <a:gd name="connsiteX3" fmla="*/ 18558 w 18501"/>
              <a:gd name="connsiteY3" fmla="*/ 78226 h 8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83258">
                <a:moveTo>
                  <a:pt x="18558" y="78226"/>
                </a:moveTo>
                <a:cubicBezTo>
                  <a:pt x="18558" y="78134"/>
                  <a:pt x="18558" y="78134"/>
                  <a:pt x="18558" y="78226"/>
                </a:cubicBezTo>
                <a:cubicBezTo>
                  <a:pt x="11805" y="52879"/>
                  <a:pt x="8012" y="29011"/>
                  <a:pt x="6717" y="6717"/>
                </a:cubicBezTo>
                <a:cubicBezTo>
                  <a:pt x="8012" y="29011"/>
                  <a:pt x="11805" y="52879"/>
                  <a:pt x="18558" y="78226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1" name="Freeform: Shape 510">
            <a:extLst>
              <a:ext uri="{FF2B5EF4-FFF2-40B4-BE49-F238E27FC236}">
                <a16:creationId xmlns="" xmlns:a16="http://schemas.microsoft.com/office/drawing/2014/main" id="{2DAA9457-F4F4-46E9-92D7-25F3EDF04C85}"/>
              </a:ext>
            </a:extLst>
          </p:cNvPr>
          <p:cNvSpPr/>
          <p:nvPr/>
        </p:nvSpPr>
        <p:spPr>
          <a:xfrm>
            <a:off x="1448820" y="700941"/>
            <a:ext cx="37004" cy="18502"/>
          </a:xfrm>
          <a:custGeom>
            <a:avLst/>
            <a:gdLst>
              <a:gd name="connsiteX0" fmla="*/ 6717 w 37003"/>
              <a:gd name="connsiteY0" fmla="*/ 13840 h 18501"/>
              <a:gd name="connsiteX1" fmla="*/ 32064 w 37003"/>
              <a:gd name="connsiteY1" fmla="*/ 6717 h 18501"/>
              <a:gd name="connsiteX2" fmla="*/ 6717 w 37003"/>
              <a:gd name="connsiteY2" fmla="*/ 1384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18501">
                <a:moveTo>
                  <a:pt x="6717" y="13840"/>
                </a:moveTo>
                <a:cubicBezTo>
                  <a:pt x="15228" y="10972"/>
                  <a:pt x="23646" y="8567"/>
                  <a:pt x="32064" y="6717"/>
                </a:cubicBezTo>
                <a:cubicBezTo>
                  <a:pt x="23646" y="8567"/>
                  <a:pt x="15228" y="10972"/>
                  <a:pt x="6717" y="1384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2" name="Freeform: Shape 511">
            <a:extLst>
              <a:ext uri="{FF2B5EF4-FFF2-40B4-BE49-F238E27FC236}">
                <a16:creationId xmlns="" xmlns:a16="http://schemas.microsoft.com/office/drawing/2014/main" id="{960D3247-0A2A-413F-9424-D7BF2E89D09D}"/>
              </a:ext>
            </a:extLst>
          </p:cNvPr>
          <p:cNvSpPr/>
          <p:nvPr/>
        </p:nvSpPr>
        <p:spPr>
          <a:xfrm>
            <a:off x="1300991" y="708064"/>
            <a:ext cx="157265" cy="129513"/>
          </a:xfrm>
          <a:custGeom>
            <a:avLst/>
            <a:gdLst>
              <a:gd name="connsiteX0" fmla="*/ 154546 w 157265"/>
              <a:gd name="connsiteY0" fmla="*/ 6717 h 129512"/>
              <a:gd name="connsiteX1" fmla="*/ 6717 w 157265"/>
              <a:gd name="connsiteY1" fmla="*/ 123093 h 129512"/>
              <a:gd name="connsiteX2" fmla="*/ 6717 w 157265"/>
              <a:gd name="connsiteY2" fmla="*/ 123093 h 129512"/>
              <a:gd name="connsiteX3" fmla="*/ 154546 w 157265"/>
              <a:gd name="connsiteY3" fmla="*/ 6717 h 12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7265" h="129512">
                <a:moveTo>
                  <a:pt x="154546" y="6717"/>
                </a:moveTo>
                <a:cubicBezTo>
                  <a:pt x="103666" y="23923"/>
                  <a:pt x="51861" y="58799"/>
                  <a:pt x="6717" y="123093"/>
                </a:cubicBezTo>
                <a:cubicBezTo>
                  <a:pt x="6717" y="123093"/>
                  <a:pt x="6717" y="123093"/>
                  <a:pt x="6717" y="123093"/>
                </a:cubicBezTo>
                <a:cubicBezTo>
                  <a:pt x="51861" y="58799"/>
                  <a:pt x="103666" y="23831"/>
                  <a:pt x="154546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3" name="Freeform: Shape 512">
            <a:extLst>
              <a:ext uri="{FF2B5EF4-FFF2-40B4-BE49-F238E27FC236}">
                <a16:creationId xmlns="" xmlns:a16="http://schemas.microsoft.com/office/drawing/2014/main" id="{41A1AC8A-C245-4987-9293-CEB051A7C404}"/>
              </a:ext>
            </a:extLst>
          </p:cNvPr>
          <p:cNvSpPr/>
          <p:nvPr/>
        </p:nvSpPr>
        <p:spPr>
          <a:xfrm>
            <a:off x="2090462" y="2112258"/>
            <a:ext cx="55505" cy="92509"/>
          </a:xfrm>
          <a:custGeom>
            <a:avLst/>
            <a:gdLst>
              <a:gd name="connsiteX0" fmla="*/ 6717 w 55505"/>
              <a:gd name="connsiteY0" fmla="*/ 86182 h 92508"/>
              <a:gd name="connsiteX1" fmla="*/ 6717 w 55505"/>
              <a:gd name="connsiteY1" fmla="*/ 86182 h 92508"/>
              <a:gd name="connsiteX2" fmla="*/ 57319 w 55505"/>
              <a:gd name="connsiteY2" fmla="*/ 6717 h 92508"/>
              <a:gd name="connsiteX3" fmla="*/ 6717 w 55505"/>
              <a:gd name="connsiteY3" fmla="*/ 86182 h 9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92508">
                <a:moveTo>
                  <a:pt x="6717" y="86182"/>
                </a:moveTo>
                <a:cubicBezTo>
                  <a:pt x="6717" y="86182"/>
                  <a:pt x="6717" y="86182"/>
                  <a:pt x="6717" y="86182"/>
                </a:cubicBezTo>
                <a:cubicBezTo>
                  <a:pt x="21518" y="54451"/>
                  <a:pt x="38725" y="28271"/>
                  <a:pt x="57319" y="6717"/>
                </a:cubicBezTo>
                <a:cubicBezTo>
                  <a:pt x="38632" y="28271"/>
                  <a:pt x="21518" y="54451"/>
                  <a:pt x="6717" y="8618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4" name="Freeform: Shape 513">
            <a:extLst>
              <a:ext uri="{FF2B5EF4-FFF2-40B4-BE49-F238E27FC236}">
                <a16:creationId xmlns="" xmlns:a16="http://schemas.microsoft.com/office/drawing/2014/main" id="{1F441481-E4DD-46F3-9B47-DEAA3ABC9348}"/>
              </a:ext>
            </a:extLst>
          </p:cNvPr>
          <p:cNvSpPr/>
          <p:nvPr/>
        </p:nvSpPr>
        <p:spPr>
          <a:xfrm>
            <a:off x="1861595" y="3489440"/>
            <a:ext cx="148014" cy="138763"/>
          </a:xfrm>
          <a:custGeom>
            <a:avLst/>
            <a:gdLst>
              <a:gd name="connsiteX0" fmla="*/ 6717 w 148014"/>
              <a:gd name="connsiteY0" fmla="*/ 6717 h 138763"/>
              <a:gd name="connsiteX1" fmla="*/ 146960 w 148014"/>
              <a:gd name="connsiteY1" fmla="*/ 132066 h 138763"/>
              <a:gd name="connsiteX2" fmla="*/ 6717 w 148014"/>
              <a:gd name="connsiteY2" fmla="*/ 6717 h 138763"/>
              <a:gd name="connsiteX3" fmla="*/ 6717 w 148014"/>
              <a:gd name="connsiteY3" fmla="*/ 6717 h 13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014" h="138763">
                <a:moveTo>
                  <a:pt x="6717" y="6717"/>
                </a:moveTo>
                <a:cubicBezTo>
                  <a:pt x="77764" y="39927"/>
                  <a:pt x="121243" y="84887"/>
                  <a:pt x="146960" y="132066"/>
                </a:cubicBezTo>
                <a:cubicBezTo>
                  <a:pt x="121243" y="84887"/>
                  <a:pt x="77856" y="39927"/>
                  <a:pt x="6717" y="6717"/>
                </a:cubicBezTo>
                <a:cubicBezTo>
                  <a:pt x="6717" y="6717"/>
                  <a:pt x="6717" y="671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5" name="Freeform: Shape 514">
            <a:extLst>
              <a:ext uri="{FF2B5EF4-FFF2-40B4-BE49-F238E27FC236}">
                <a16:creationId xmlns="" xmlns:a16="http://schemas.microsoft.com/office/drawing/2014/main" id="{8965DF76-9BC6-4703-811A-C665A7BF8254}"/>
              </a:ext>
            </a:extLst>
          </p:cNvPr>
          <p:cNvSpPr/>
          <p:nvPr/>
        </p:nvSpPr>
        <p:spPr>
          <a:xfrm>
            <a:off x="1984170" y="3664744"/>
            <a:ext cx="37004" cy="9251"/>
          </a:xfrm>
          <a:custGeom>
            <a:avLst/>
            <a:gdLst>
              <a:gd name="connsiteX0" fmla="*/ 32342 w 37003"/>
              <a:gd name="connsiteY0" fmla="*/ 6717 h 9250"/>
              <a:gd name="connsiteX1" fmla="*/ 6717 w 37003"/>
              <a:gd name="connsiteY1" fmla="*/ 9862 h 9250"/>
              <a:gd name="connsiteX2" fmla="*/ 32342 w 37003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9250">
                <a:moveTo>
                  <a:pt x="32342" y="6717"/>
                </a:moveTo>
                <a:cubicBezTo>
                  <a:pt x="24016" y="8197"/>
                  <a:pt x="15505" y="9215"/>
                  <a:pt x="6717" y="9862"/>
                </a:cubicBezTo>
                <a:cubicBezTo>
                  <a:pt x="15412" y="9215"/>
                  <a:pt x="24016" y="8104"/>
                  <a:pt x="3234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6" name="Freeform: Shape 515">
            <a:extLst>
              <a:ext uri="{FF2B5EF4-FFF2-40B4-BE49-F238E27FC236}">
                <a16:creationId xmlns="" xmlns:a16="http://schemas.microsoft.com/office/drawing/2014/main" id="{7F7A0AA1-509A-425F-8C69-0F823B81AB1F}"/>
              </a:ext>
            </a:extLst>
          </p:cNvPr>
          <p:cNvSpPr/>
          <p:nvPr/>
        </p:nvSpPr>
        <p:spPr>
          <a:xfrm>
            <a:off x="1792213" y="3586389"/>
            <a:ext cx="74007" cy="27753"/>
          </a:xfrm>
          <a:custGeom>
            <a:avLst/>
            <a:gdLst>
              <a:gd name="connsiteX0" fmla="*/ 6717 w 74007"/>
              <a:gd name="connsiteY0" fmla="*/ 30029 h 27752"/>
              <a:gd name="connsiteX1" fmla="*/ 6717 w 74007"/>
              <a:gd name="connsiteY1" fmla="*/ 30029 h 27752"/>
              <a:gd name="connsiteX2" fmla="*/ 72306 w 74007"/>
              <a:gd name="connsiteY2" fmla="*/ 6717 h 27752"/>
              <a:gd name="connsiteX3" fmla="*/ 6717 w 74007"/>
              <a:gd name="connsiteY3" fmla="*/ 30029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07" h="27752">
                <a:moveTo>
                  <a:pt x="6717" y="30029"/>
                </a:moveTo>
                <a:cubicBezTo>
                  <a:pt x="6717" y="30029"/>
                  <a:pt x="6717" y="30029"/>
                  <a:pt x="6717" y="30029"/>
                </a:cubicBezTo>
                <a:cubicBezTo>
                  <a:pt x="29474" y="19483"/>
                  <a:pt x="51306" y="11805"/>
                  <a:pt x="72306" y="6717"/>
                </a:cubicBezTo>
                <a:cubicBezTo>
                  <a:pt x="51306" y="11897"/>
                  <a:pt x="29474" y="19483"/>
                  <a:pt x="6717" y="3002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7" name="Freeform: Shape 516">
            <a:extLst>
              <a:ext uri="{FF2B5EF4-FFF2-40B4-BE49-F238E27FC236}">
                <a16:creationId xmlns="" xmlns:a16="http://schemas.microsoft.com/office/drawing/2014/main" id="{301F6EF4-7101-4D52-99A6-9CBF4B6A611D}"/>
              </a:ext>
            </a:extLst>
          </p:cNvPr>
          <p:cNvSpPr/>
          <p:nvPr/>
        </p:nvSpPr>
        <p:spPr>
          <a:xfrm>
            <a:off x="536589" y="4388719"/>
            <a:ext cx="55505" cy="27753"/>
          </a:xfrm>
          <a:custGeom>
            <a:avLst/>
            <a:gdLst>
              <a:gd name="connsiteX0" fmla="*/ 6717 w 55505"/>
              <a:gd name="connsiteY0" fmla="*/ 6717 h 27752"/>
              <a:gd name="connsiteX1" fmla="*/ 57134 w 55505"/>
              <a:gd name="connsiteY1" fmla="*/ 25774 h 27752"/>
              <a:gd name="connsiteX2" fmla="*/ 6717 w 55505"/>
              <a:gd name="connsiteY2" fmla="*/ 6717 h 27752"/>
              <a:gd name="connsiteX3" fmla="*/ 6717 w 55505"/>
              <a:gd name="connsiteY3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27752">
                <a:moveTo>
                  <a:pt x="6717" y="6717"/>
                </a:moveTo>
                <a:cubicBezTo>
                  <a:pt x="19761" y="8752"/>
                  <a:pt x="36320" y="14487"/>
                  <a:pt x="57134" y="25774"/>
                </a:cubicBezTo>
                <a:cubicBezTo>
                  <a:pt x="36320" y="14487"/>
                  <a:pt x="19668" y="8752"/>
                  <a:pt x="6717" y="6717"/>
                </a:cubicBezTo>
                <a:cubicBezTo>
                  <a:pt x="6717" y="6717"/>
                  <a:pt x="6717" y="671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8" name="Freeform: Shape 517">
            <a:extLst>
              <a:ext uri="{FF2B5EF4-FFF2-40B4-BE49-F238E27FC236}">
                <a16:creationId xmlns="" xmlns:a16="http://schemas.microsoft.com/office/drawing/2014/main" id="{67BF9E36-180B-43D2-B0D6-3FA265A6BE50}"/>
              </a:ext>
            </a:extLst>
          </p:cNvPr>
          <p:cNvSpPr/>
          <p:nvPr/>
        </p:nvSpPr>
        <p:spPr>
          <a:xfrm>
            <a:off x="1767884" y="3355486"/>
            <a:ext cx="46255" cy="27753"/>
          </a:xfrm>
          <a:custGeom>
            <a:avLst/>
            <a:gdLst>
              <a:gd name="connsiteX0" fmla="*/ 6717 w 46254"/>
              <a:gd name="connsiteY0" fmla="*/ 6717 h 27752"/>
              <a:gd name="connsiteX1" fmla="*/ 44090 w 46254"/>
              <a:gd name="connsiteY1" fmla="*/ 27346 h 27752"/>
              <a:gd name="connsiteX2" fmla="*/ 6717 w 46254"/>
              <a:gd name="connsiteY2" fmla="*/ 6717 h 27752"/>
              <a:gd name="connsiteX3" fmla="*/ 6717 w 46254"/>
              <a:gd name="connsiteY3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27752">
                <a:moveTo>
                  <a:pt x="6717" y="6717"/>
                </a:moveTo>
                <a:cubicBezTo>
                  <a:pt x="17078" y="10232"/>
                  <a:pt x="29474" y="16800"/>
                  <a:pt x="44090" y="27346"/>
                </a:cubicBezTo>
                <a:cubicBezTo>
                  <a:pt x="29474" y="16800"/>
                  <a:pt x="17078" y="10324"/>
                  <a:pt x="6717" y="6717"/>
                </a:cubicBezTo>
                <a:cubicBezTo>
                  <a:pt x="6717" y="6717"/>
                  <a:pt x="6717" y="671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9" name="Freeform: Shape 518">
            <a:extLst>
              <a:ext uri="{FF2B5EF4-FFF2-40B4-BE49-F238E27FC236}">
                <a16:creationId xmlns="" xmlns:a16="http://schemas.microsoft.com/office/drawing/2014/main" id="{657570E6-7101-4CE6-9FDA-30E0188294DC}"/>
              </a:ext>
            </a:extLst>
          </p:cNvPr>
          <p:cNvSpPr/>
          <p:nvPr/>
        </p:nvSpPr>
        <p:spPr>
          <a:xfrm>
            <a:off x="1661036" y="2938011"/>
            <a:ext cx="92509" cy="18502"/>
          </a:xfrm>
          <a:custGeom>
            <a:avLst/>
            <a:gdLst>
              <a:gd name="connsiteX0" fmla="*/ 6717 w 92509"/>
              <a:gd name="connsiteY0" fmla="*/ 7531 h 18501"/>
              <a:gd name="connsiteX1" fmla="*/ 6717 w 92509"/>
              <a:gd name="connsiteY1" fmla="*/ 7531 h 18501"/>
              <a:gd name="connsiteX2" fmla="*/ 86737 w 92509"/>
              <a:gd name="connsiteY2" fmla="*/ 14747 h 18501"/>
              <a:gd name="connsiteX3" fmla="*/ 6717 w 92509"/>
              <a:gd name="connsiteY3" fmla="*/ 7531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09" h="18501">
                <a:moveTo>
                  <a:pt x="6717" y="7531"/>
                </a:moveTo>
                <a:cubicBezTo>
                  <a:pt x="6717" y="7531"/>
                  <a:pt x="6717" y="7531"/>
                  <a:pt x="6717" y="7531"/>
                </a:cubicBezTo>
                <a:cubicBezTo>
                  <a:pt x="31787" y="5589"/>
                  <a:pt x="60002" y="6791"/>
                  <a:pt x="86737" y="14747"/>
                </a:cubicBezTo>
                <a:cubicBezTo>
                  <a:pt x="60002" y="6791"/>
                  <a:pt x="31787" y="5589"/>
                  <a:pt x="6717" y="753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0" name="Freeform: Shape 519">
            <a:extLst>
              <a:ext uri="{FF2B5EF4-FFF2-40B4-BE49-F238E27FC236}">
                <a16:creationId xmlns="" xmlns:a16="http://schemas.microsoft.com/office/drawing/2014/main" id="{FE6BEB91-D391-4FF4-BF41-5258BDB1C8EF}"/>
              </a:ext>
            </a:extLst>
          </p:cNvPr>
          <p:cNvSpPr/>
          <p:nvPr/>
        </p:nvSpPr>
        <p:spPr>
          <a:xfrm>
            <a:off x="91065" y="486690"/>
            <a:ext cx="46255" cy="46254"/>
          </a:xfrm>
          <a:custGeom>
            <a:avLst/>
            <a:gdLst>
              <a:gd name="connsiteX0" fmla="*/ 47513 w 46254"/>
              <a:gd name="connsiteY0" fmla="*/ 41870 h 46254"/>
              <a:gd name="connsiteX1" fmla="*/ 47513 w 46254"/>
              <a:gd name="connsiteY1" fmla="*/ 41870 h 46254"/>
              <a:gd name="connsiteX2" fmla="*/ 6717 w 46254"/>
              <a:gd name="connsiteY2" fmla="*/ 6717 h 46254"/>
              <a:gd name="connsiteX3" fmla="*/ 47513 w 46254"/>
              <a:gd name="connsiteY3" fmla="*/ 41870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46254">
                <a:moveTo>
                  <a:pt x="47513" y="41870"/>
                </a:moveTo>
                <a:cubicBezTo>
                  <a:pt x="47513" y="41870"/>
                  <a:pt x="47513" y="41870"/>
                  <a:pt x="47513" y="41870"/>
                </a:cubicBezTo>
                <a:cubicBezTo>
                  <a:pt x="35950" y="35487"/>
                  <a:pt x="22351" y="24386"/>
                  <a:pt x="6717" y="6717"/>
                </a:cubicBezTo>
                <a:cubicBezTo>
                  <a:pt x="22351" y="24386"/>
                  <a:pt x="35950" y="35487"/>
                  <a:pt x="47513" y="4187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1" name="Freeform: Shape 520">
            <a:extLst>
              <a:ext uri="{FF2B5EF4-FFF2-40B4-BE49-F238E27FC236}">
                <a16:creationId xmlns="" xmlns:a16="http://schemas.microsoft.com/office/drawing/2014/main" id="{3D851A45-C623-4F0D-A8DC-E288366F3747}"/>
              </a:ext>
            </a:extLst>
          </p:cNvPr>
          <p:cNvSpPr/>
          <p:nvPr/>
        </p:nvSpPr>
        <p:spPr>
          <a:xfrm>
            <a:off x="796909" y="4293898"/>
            <a:ext cx="27753" cy="55505"/>
          </a:xfrm>
          <a:custGeom>
            <a:avLst/>
            <a:gdLst>
              <a:gd name="connsiteX0" fmla="*/ 6717 w 27752"/>
              <a:gd name="connsiteY0" fmla="*/ 6717 h 55505"/>
              <a:gd name="connsiteX1" fmla="*/ 24571 w 27752"/>
              <a:gd name="connsiteY1" fmla="*/ 57504 h 55505"/>
              <a:gd name="connsiteX2" fmla="*/ 6717 w 27752"/>
              <a:gd name="connsiteY2" fmla="*/ 6717 h 55505"/>
              <a:gd name="connsiteX3" fmla="*/ 6717 w 27752"/>
              <a:gd name="connsiteY3" fmla="*/ 6717 h 55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55505">
                <a:moveTo>
                  <a:pt x="6717" y="6717"/>
                </a:moveTo>
                <a:cubicBezTo>
                  <a:pt x="13562" y="18003"/>
                  <a:pt x="19760" y="34469"/>
                  <a:pt x="24571" y="57504"/>
                </a:cubicBezTo>
                <a:cubicBezTo>
                  <a:pt x="19853" y="34469"/>
                  <a:pt x="13562" y="18003"/>
                  <a:pt x="6717" y="6717"/>
                </a:cubicBezTo>
                <a:cubicBezTo>
                  <a:pt x="6717" y="6717"/>
                  <a:pt x="6717" y="671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2" name="Freeform: Shape 521">
            <a:extLst>
              <a:ext uri="{FF2B5EF4-FFF2-40B4-BE49-F238E27FC236}">
                <a16:creationId xmlns="" xmlns:a16="http://schemas.microsoft.com/office/drawing/2014/main" id="{91ECAEA5-C260-47E1-B971-B793433FEC43}"/>
              </a:ext>
            </a:extLst>
          </p:cNvPr>
          <p:cNvSpPr/>
          <p:nvPr/>
        </p:nvSpPr>
        <p:spPr>
          <a:xfrm>
            <a:off x="1214957" y="3707730"/>
            <a:ext cx="83258" cy="9251"/>
          </a:xfrm>
          <a:custGeom>
            <a:avLst/>
            <a:gdLst>
              <a:gd name="connsiteX0" fmla="*/ 6717 w 83258"/>
              <a:gd name="connsiteY0" fmla="*/ 10262 h 9250"/>
              <a:gd name="connsiteX1" fmla="*/ 6717 w 83258"/>
              <a:gd name="connsiteY1" fmla="*/ 10262 h 9250"/>
              <a:gd name="connsiteX2" fmla="*/ 78781 w 83258"/>
              <a:gd name="connsiteY2" fmla="*/ 8967 h 9250"/>
              <a:gd name="connsiteX3" fmla="*/ 6717 w 83258"/>
              <a:gd name="connsiteY3" fmla="*/ 10262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58" h="9250">
                <a:moveTo>
                  <a:pt x="6717" y="10262"/>
                </a:moveTo>
                <a:cubicBezTo>
                  <a:pt x="6717" y="10262"/>
                  <a:pt x="6809" y="10262"/>
                  <a:pt x="6717" y="10262"/>
                </a:cubicBezTo>
                <a:cubicBezTo>
                  <a:pt x="29104" y="6562"/>
                  <a:pt x="54174" y="5174"/>
                  <a:pt x="78781" y="8967"/>
                </a:cubicBezTo>
                <a:cubicBezTo>
                  <a:pt x="54174" y="5174"/>
                  <a:pt x="29104" y="6562"/>
                  <a:pt x="6717" y="1026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3" name="Freeform: Shape 522">
            <a:extLst>
              <a:ext uri="{FF2B5EF4-FFF2-40B4-BE49-F238E27FC236}">
                <a16:creationId xmlns="" xmlns:a16="http://schemas.microsoft.com/office/drawing/2014/main" id="{67CE51A3-1AA9-4162-8A85-EE37526C4B94}"/>
              </a:ext>
            </a:extLst>
          </p:cNvPr>
          <p:cNvSpPr/>
          <p:nvPr/>
        </p:nvSpPr>
        <p:spPr>
          <a:xfrm>
            <a:off x="396900" y="745160"/>
            <a:ext cx="55505" cy="83258"/>
          </a:xfrm>
          <a:custGeom>
            <a:avLst/>
            <a:gdLst>
              <a:gd name="connsiteX0" fmla="*/ 49086 w 55505"/>
              <a:gd name="connsiteY0" fmla="*/ 84332 h 83258"/>
              <a:gd name="connsiteX1" fmla="*/ 6717 w 55505"/>
              <a:gd name="connsiteY1" fmla="*/ 6717 h 83258"/>
              <a:gd name="connsiteX2" fmla="*/ 49086 w 55505"/>
              <a:gd name="connsiteY2" fmla="*/ 84332 h 83258"/>
              <a:gd name="connsiteX3" fmla="*/ 49086 w 55505"/>
              <a:gd name="connsiteY3" fmla="*/ 84332 h 8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83258">
                <a:moveTo>
                  <a:pt x="49086" y="84332"/>
                </a:moveTo>
                <a:cubicBezTo>
                  <a:pt x="31509" y="62962"/>
                  <a:pt x="14950" y="36320"/>
                  <a:pt x="6717" y="6717"/>
                </a:cubicBezTo>
                <a:cubicBezTo>
                  <a:pt x="14950" y="36227"/>
                  <a:pt x="31509" y="62870"/>
                  <a:pt x="49086" y="84332"/>
                </a:cubicBezTo>
                <a:cubicBezTo>
                  <a:pt x="49086" y="84332"/>
                  <a:pt x="49086" y="84332"/>
                  <a:pt x="49086" y="8433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4" name="Freeform: Shape 523">
            <a:extLst>
              <a:ext uri="{FF2B5EF4-FFF2-40B4-BE49-F238E27FC236}">
                <a16:creationId xmlns="" xmlns:a16="http://schemas.microsoft.com/office/drawing/2014/main" id="{F71F7CEA-2AC1-414C-ADCA-78115E59DC84}"/>
              </a:ext>
            </a:extLst>
          </p:cNvPr>
          <p:cNvSpPr/>
          <p:nvPr/>
        </p:nvSpPr>
        <p:spPr>
          <a:xfrm>
            <a:off x="982945" y="3906008"/>
            <a:ext cx="64756" cy="55505"/>
          </a:xfrm>
          <a:custGeom>
            <a:avLst/>
            <a:gdLst>
              <a:gd name="connsiteX0" fmla="*/ 6717 w 64756"/>
              <a:gd name="connsiteY0" fmla="*/ 6717 h 55505"/>
              <a:gd name="connsiteX1" fmla="*/ 6717 w 64756"/>
              <a:gd name="connsiteY1" fmla="*/ 6717 h 55505"/>
              <a:gd name="connsiteX2" fmla="*/ 58614 w 64756"/>
              <a:gd name="connsiteY2" fmla="*/ 56856 h 55505"/>
              <a:gd name="connsiteX3" fmla="*/ 6717 w 64756"/>
              <a:gd name="connsiteY3" fmla="*/ 6717 h 55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55505">
                <a:moveTo>
                  <a:pt x="6717" y="6717"/>
                </a:moveTo>
                <a:cubicBezTo>
                  <a:pt x="6717" y="6717"/>
                  <a:pt x="6717" y="6717"/>
                  <a:pt x="6717" y="6717"/>
                </a:cubicBezTo>
                <a:cubicBezTo>
                  <a:pt x="25126" y="19853"/>
                  <a:pt x="43813" y="36690"/>
                  <a:pt x="58614" y="56856"/>
                </a:cubicBezTo>
                <a:cubicBezTo>
                  <a:pt x="43813" y="36690"/>
                  <a:pt x="25126" y="1994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5" name="Freeform: Shape 524">
            <a:extLst>
              <a:ext uri="{FF2B5EF4-FFF2-40B4-BE49-F238E27FC236}">
                <a16:creationId xmlns="" xmlns:a16="http://schemas.microsoft.com/office/drawing/2014/main" id="{EC66F943-C175-4B43-A6FE-B1211A0558E7}"/>
              </a:ext>
            </a:extLst>
          </p:cNvPr>
          <p:cNvSpPr/>
          <p:nvPr/>
        </p:nvSpPr>
        <p:spPr>
          <a:xfrm>
            <a:off x="1629305" y="3577693"/>
            <a:ext cx="55505" cy="27753"/>
          </a:xfrm>
          <a:custGeom>
            <a:avLst/>
            <a:gdLst>
              <a:gd name="connsiteX0" fmla="*/ 6717 w 55505"/>
              <a:gd name="connsiteY0" fmla="*/ 24479 h 27752"/>
              <a:gd name="connsiteX1" fmla="*/ 57504 w 55505"/>
              <a:gd name="connsiteY1" fmla="*/ 6717 h 27752"/>
              <a:gd name="connsiteX2" fmla="*/ 6717 w 55505"/>
              <a:gd name="connsiteY2" fmla="*/ 24479 h 27752"/>
              <a:gd name="connsiteX3" fmla="*/ 6717 w 55505"/>
              <a:gd name="connsiteY3" fmla="*/ 24479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27752">
                <a:moveTo>
                  <a:pt x="6717" y="24479"/>
                </a:moveTo>
                <a:cubicBezTo>
                  <a:pt x="18003" y="17633"/>
                  <a:pt x="34469" y="11435"/>
                  <a:pt x="57504" y="6717"/>
                </a:cubicBezTo>
                <a:cubicBezTo>
                  <a:pt x="34469" y="11435"/>
                  <a:pt x="18003" y="17725"/>
                  <a:pt x="6717" y="24479"/>
                </a:cubicBezTo>
                <a:cubicBezTo>
                  <a:pt x="6717" y="24479"/>
                  <a:pt x="6717" y="24479"/>
                  <a:pt x="6717" y="2447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6" name="Freeform: Shape 525">
            <a:extLst>
              <a:ext uri="{FF2B5EF4-FFF2-40B4-BE49-F238E27FC236}">
                <a16:creationId xmlns="" xmlns:a16="http://schemas.microsoft.com/office/drawing/2014/main" id="{C22A7AB6-961B-4D81-9D31-067F731DB367}"/>
              </a:ext>
            </a:extLst>
          </p:cNvPr>
          <p:cNvSpPr/>
          <p:nvPr/>
        </p:nvSpPr>
        <p:spPr>
          <a:xfrm>
            <a:off x="1908405" y="2003838"/>
            <a:ext cx="64756" cy="18502"/>
          </a:xfrm>
          <a:custGeom>
            <a:avLst/>
            <a:gdLst>
              <a:gd name="connsiteX0" fmla="*/ 6717 w 64756"/>
              <a:gd name="connsiteY0" fmla="*/ 15413 h 18501"/>
              <a:gd name="connsiteX1" fmla="*/ 59909 w 64756"/>
              <a:gd name="connsiteY1" fmla="*/ 6717 h 18501"/>
              <a:gd name="connsiteX2" fmla="*/ 6717 w 64756"/>
              <a:gd name="connsiteY2" fmla="*/ 15413 h 18501"/>
              <a:gd name="connsiteX3" fmla="*/ 6717 w 64756"/>
              <a:gd name="connsiteY3" fmla="*/ 15413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18501">
                <a:moveTo>
                  <a:pt x="6717" y="15413"/>
                </a:moveTo>
                <a:cubicBezTo>
                  <a:pt x="19020" y="10695"/>
                  <a:pt x="36320" y="7364"/>
                  <a:pt x="59909" y="6717"/>
                </a:cubicBezTo>
                <a:cubicBezTo>
                  <a:pt x="36320" y="7364"/>
                  <a:pt x="19020" y="10695"/>
                  <a:pt x="6717" y="15413"/>
                </a:cubicBezTo>
                <a:cubicBezTo>
                  <a:pt x="6717" y="15413"/>
                  <a:pt x="6717" y="15413"/>
                  <a:pt x="6717" y="1541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7" name="Freeform: Shape 526">
            <a:extLst>
              <a:ext uri="{FF2B5EF4-FFF2-40B4-BE49-F238E27FC236}">
                <a16:creationId xmlns="" xmlns:a16="http://schemas.microsoft.com/office/drawing/2014/main" id="{E91A08B2-660F-4A01-8C3B-79F8261646B7}"/>
              </a:ext>
            </a:extLst>
          </p:cNvPr>
          <p:cNvSpPr/>
          <p:nvPr/>
        </p:nvSpPr>
        <p:spPr>
          <a:xfrm>
            <a:off x="1956509" y="2229652"/>
            <a:ext cx="46255" cy="64756"/>
          </a:xfrm>
          <a:custGeom>
            <a:avLst/>
            <a:gdLst>
              <a:gd name="connsiteX0" fmla="*/ 6717 w 46254"/>
              <a:gd name="connsiteY0" fmla="*/ 62500 h 64756"/>
              <a:gd name="connsiteX1" fmla="*/ 42055 w 46254"/>
              <a:gd name="connsiteY1" fmla="*/ 6717 h 64756"/>
              <a:gd name="connsiteX2" fmla="*/ 6717 w 46254"/>
              <a:gd name="connsiteY2" fmla="*/ 62500 h 64756"/>
              <a:gd name="connsiteX3" fmla="*/ 6717 w 46254"/>
              <a:gd name="connsiteY3" fmla="*/ 62500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64756">
                <a:moveTo>
                  <a:pt x="6717" y="62500"/>
                </a:moveTo>
                <a:cubicBezTo>
                  <a:pt x="11712" y="47976"/>
                  <a:pt x="22536" y="29474"/>
                  <a:pt x="42055" y="6717"/>
                </a:cubicBezTo>
                <a:cubicBezTo>
                  <a:pt x="22536" y="29474"/>
                  <a:pt x="11712" y="47976"/>
                  <a:pt x="6717" y="62500"/>
                </a:cubicBezTo>
                <a:cubicBezTo>
                  <a:pt x="6717" y="62500"/>
                  <a:pt x="6717" y="62500"/>
                  <a:pt x="6717" y="6250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8" name="Freeform: Shape 527">
            <a:extLst>
              <a:ext uri="{FF2B5EF4-FFF2-40B4-BE49-F238E27FC236}">
                <a16:creationId xmlns="" xmlns:a16="http://schemas.microsoft.com/office/drawing/2014/main" id="{3473523B-F90B-4C38-9849-EC1D166E0592}"/>
              </a:ext>
            </a:extLst>
          </p:cNvPr>
          <p:cNvSpPr/>
          <p:nvPr/>
        </p:nvSpPr>
        <p:spPr>
          <a:xfrm>
            <a:off x="1558721" y="1716135"/>
            <a:ext cx="74007" cy="55505"/>
          </a:xfrm>
          <a:custGeom>
            <a:avLst/>
            <a:gdLst>
              <a:gd name="connsiteX0" fmla="*/ 6717 w 74007"/>
              <a:gd name="connsiteY0" fmla="*/ 52601 h 55505"/>
              <a:gd name="connsiteX1" fmla="*/ 72583 w 74007"/>
              <a:gd name="connsiteY1" fmla="*/ 6717 h 55505"/>
              <a:gd name="connsiteX2" fmla="*/ 6717 w 74007"/>
              <a:gd name="connsiteY2" fmla="*/ 52601 h 55505"/>
              <a:gd name="connsiteX3" fmla="*/ 6717 w 74007"/>
              <a:gd name="connsiteY3" fmla="*/ 52601 h 55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07" h="55505">
                <a:moveTo>
                  <a:pt x="6717" y="52601"/>
                </a:moveTo>
                <a:cubicBezTo>
                  <a:pt x="24664" y="34932"/>
                  <a:pt x="47051" y="17818"/>
                  <a:pt x="72583" y="6717"/>
                </a:cubicBezTo>
                <a:cubicBezTo>
                  <a:pt x="47051" y="17818"/>
                  <a:pt x="24664" y="35025"/>
                  <a:pt x="6717" y="52601"/>
                </a:cubicBezTo>
                <a:cubicBezTo>
                  <a:pt x="6717" y="52601"/>
                  <a:pt x="6717" y="52601"/>
                  <a:pt x="6717" y="5260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9" name="Freeform: Shape 528">
            <a:extLst>
              <a:ext uri="{FF2B5EF4-FFF2-40B4-BE49-F238E27FC236}">
                <a16:creationId xmlns="" xmlns:a16="http://schemas.microsoft.com/office/drawing/2014/main" id="{E07B8225-FD38-4FDE-9B3F-262906FDA1D3}"/>
              </a:ext>
            </a:extLst>
          </p:cNvPr>
          <p:cNvSpPr/>
          <p:nvPr/>
        </p:nvSpPr>
        <p:spPr>
          <a:xfrm>
            <a:off x="1407242" y="1420661"/>
            <a:ext cx="18502" cy="83258"/>
          </a:xfrm>
          <a:custGeom>
            <a:avLst/>
            <a:gdLst>
              <a:gd name="connsiteX0" fmla="*/ 6758 w 18501"/>
              <a:gd name="connsiteY0" fmla="*/ 85719 h 83258"/>
              <a:gd name="connsiteX1" fmla="*/ 20912 w 18501"/>
              <a:gd name="connsiteY1" fmla="*/ 6717 h 83258"/>
              <a:gd name="connsiteX2" fmla="*/ 6758 w 18501"/>
              <a:gd name="connsiteY2" fmla="*/ 85719 h 83258"/>
              <a:gd name="connsiteX3" fmla="*/ 6758 w 18501"/>
              <a:gd name="connsiteY3" fmla="*/ 85719 h 8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83258">
                <a:moveTo>
                  <a:pt x="6758" y="85719"/>
                </a:moveTo>
                <a:cubicBezTo>
                  <a:pt x="6943" y="60557"/>
                  <a:pt x="10736" y="32619"/>
                  <a:pt x="20912" y="6717"/>
                </a:cubicBezTo>
                <a:cubicBezTo>
                  <a:pt x="10643" y="32619"/>
                  <a:pt x="6943" y="60557"/>
                  <a:pt x="6758" y="85719"/>
                </a:cubicBezTo>
                <a:cubicBezTo>
                  <a:pt x="6665" y="85719"/>
                  <a:pt x="6758" y="85719"/>
                  <a:pt x="6758" y="8571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0" name="Freeform: Shape 529">
            <a:extLst>
              <a:ext uri="{FF2B5EF4-FFF2-40B4-BE49-F238E27FC236}">
                <a16:creationId xmlns="" xmlns:a16="http://schemas.microsoft.com/office/drawing/2014/main" id="{FB08C014-9BAE-451C-BA54-57EA7C765347}"/>
              </a:ext>
            </a:extLst>
          </p:cNvPr>
          <p:cNvSpPr/>
          <p:nvPr/>
        </p:nvSpPr>
        <p:spPr>
          <a:xfrm>
            <a:off x="723919" y="848863"/>
            <a:ext cx="27753" cy="83258"/>
          </a:xfrm>
          <a:custGeom>
            <a:avLst/>
            <a:gdLst>
              <a:gd name="connsiteX0" fmla="*/ 6717 w 27752"/>
              <a:gd name="connsiteY0" fmla="*/ 84239 h 83258"/>
              <a:gd name="connsiteX1" fmla="*/ 27716 w 27752"/>
              <a:gd name="connsiteY1" fmla="*/ 6717 h 83258"/>
              <a:gd name="connsiteX2" fmla="*/ 6717 w 27752"/>
              <a:gd name="connsiteY2" fmla="*/ 84239 h 83258"/>
              <a:gd name="connsiteX3" fmla="*/ 6717 w 27752"/>
              <a:gd name="connsiteY3" fmla="*/ 84239 h 8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83258">
                <a:moveTo>
                  <a:pt x="6717" y="84239"/>
                </a:moveTo>
                <a:cubicBezTo>
                  <a:pt x="9122" y="59169"/>
                  <a:pt x="15320" y="31602"/>
                  <a:pt x="27716" y="6717"/>
                </a:cubicBezTo>
                <a:cubicBezTo>
                  <a:pt x="15320" y="31602"/>
                  <a:pt x="9122" y="59169"/>
                  <a:pt x="6717" y="84239"/>
                </a:cubicBezTo>
                <a:cubicBezTo>
                  <a:pt x="6717" y="84239"/>
                  <a:pt x="6717" y="84239"/>
                  <a:pt x="6717" y="8423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1" name="Freeform: Shape 530">
            <a:extLst>
              <a:ext uri="{FF2B5EF4-FFF2-40B4-BE49-F238E27FC236}">
                <a16:creationId xmlns="" xmlns:a16="http://schemas.microsoft.com/office/drawing/2014/main" id="{2F4F1EA5-C95F-4B30-B642-1AFE5F40FFCF}"/>
              </a:ext>
            </a:extLst>
          </p:cNvPr>
          <p:cNvSpPr/>
          <p:nvPr/>
        </p:nvSpPr>
        <p:spPr>
          <a:xfrm>
            <a:off x="1713581" y="2581834"/>
            <a:ext cx="83258" cy="64756"/>
          </a:xfrm>
          <a:custGeom>
            <a:avLst/>
            <a:gdLst>
              <a:gd name="connsiteX0" fmla="*/ 6717 w 83258"/>
              <a:gd name="connsiteY0" fmla="*/ 65367 h 64756"/>
              <a:gd name="connsiteX1" fmla="*/ 6717 w 83258"/>
              <a:gd name="connsiteY1" fmla="*/ 65367 h 64756"/>
              <a:gd name="connsiteX2" fmla="*/ 83499 w 83258"/>
              <a:gd name="connsiteY2" fmla="*/ 6717 h 64756"/>
              <a:gd name="connsiteX3" fmla="*/ 6717 w 83258"/>
              <a:gd name="connsiteY3" fmla="*/ 65367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58" h="64756">
                <a:moveTo>
                  <a:pt x="6717" y="65367"/>
                </a:moveTo>
                <a:cubicBezTo>
                  <a:pt x="6717" y="65367"/>
                  <a:pt x="6717" y="65367"/>
                  <a:pt x="6717" y="65367"/>
                </a:cubicBezTo>
                <a:cubicBezTo>
                  <a:pt x="26329" y="42425"/>
                  <a:pt x="52416" y="19576"/>
                  <a:pt x="83499" y="6717"/>
                </a:cubicBezTo>
                <a:cubicBezTo>
                  <a:pt x="52416" y="19576"/>
                  <a:pt x="26329" y="42425"/>
                  <a:pt x="6717" y="6536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2" name="Freeform: Shape 531">
            <a:extLst>
              <a:ext uri="{FF2B5EF4-FFF2-40B4-BE49-F238E27FC236}">
                <a16:creationId xmlns="" xmlns:a16="http://schemas.microsoft.com/office/drawing/2014/main" id="{1A964CCB-5122-473B-814D-335C68E9C5C1}"/>
              </a:ext>
            </a:extLst>
          </p:cNvPr>
          <p:cNvSpPr/>
          <p:nvPr/>
        </p:nvSpPr>
        <p:spPr>
          <a:xfrm>
            <a:off x="1152884" y="852656"/>
            <a:ext cx="46255" cy="46254"/>
          </a:xfrm>
          <a:custGeom>
            <a:avLst/>
            <a:gdLst>
              <a:gd name="connsiteX0" fmla="*/ 6717 w 46254"/>
              <a:gd name="connsiteY0" fmla="*/ 47513 h 46254"/>
              <a:gd name="connsiteX1" fmla="*/ 6717 w 46254"/>
              <a:gd name="connsiteY1" fmla="*/ 47513 h 46254"/>
              <a:gd name="connsiteX2" fmla="*/ 41870 w 46254"/>
              <a:gd name="connsiteY2" fmla="*/ 6717 h 46254"/>
              <a:gd name="connsiteX3" fmla="*/ 6717 w 46254"/>
              <a:gd name="connsiteY3" fmla="*/ 47513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46254">
                <a:moveTo>
                  <a:pt x="6717" y="47513"/>
                </a:moveTo>
                <a:cubicBezTo>
                  <a:pt x="6717" y="47513"/>
                  <a:pt x="6717" y="47513"/>
                  <a:pt x="6717" y="47513"/>
                </a:cubicBezTo>
                <a:cubicBezTo>
                  <a:pt x="13100" y="35950"/>
                  <a:pt x="24201" y="22351"/>
                  <a:pt x="41870" y="6717"/>
                </a:cubicBezTo>
                <a:cubicBezTo>
                  <a:pt x="24201" y="22351"/>
                  <a:pt x="13007" y="35950"/>
                  <a:pt x="6717" y="4751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3" name="Freeform: Shape 532">
            <a:extLst>
              <a:ext uri="{FF2B5EF4-FFF2-40B4-BE49-F238E27FC236}">
                <a16:creationId xmlns="" xmlns:a16="http://schemas.microsoft.com/office/drawing/2014/main" id="{0F50D55B-30C1-44DC-A261-8322A0E67A46}"/>
              </a:ext>
            </a:extLst>
          </p:cNvPr>
          <p:cNvSpPr/>
          <p:nvPr/>
        </p:nvSpPr>
        <p:spPr>
          <a:xfrm>
            <a:off x="1356285" y="1006128"/>
            <a:ext cx="18502" cy="74007"/>
          </a:xfrm>
          <a:custGeom>
            <a:avLst/>
            <a:gdLst>
              <a:gd name="connsiteX0" fmla="*/ 15531 w 18501"/>
              <a:gd name="connsiteY0" fmla="*/ 72213 h 74007"/>
              <a:gd name="connsiteX1" fmla="*/ 6743 w 18501"/>
              <a:gd name="connsiteY1" fmla="*/ 6717 h 74007"/>
              <a:gd name="connsiteX2" fmla="*/ 15531 w 18501"/>
              <a:gd name="connsiteY2" fmla="*/ 72213 h 74007"/>
              <a:gd name="connsiteX3" fmla="*/ 15531 w 18501"/>
              <a:gd name="connsiteY3" fmla="*/ 72213 h 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74007">
                <a:moveTo>
                  <a:pt x="15531" y="72213"/>
                </a:moveTo>
                <a:cubicBezTo>
                  <a:pt x="9981" y="57874"/>
                  <a:pt x="6373" y="36782"/>
                  <a:pt x="6743" y="6717"/>
                </a:cubicBezTo>
                <a:cubicBezTo>
                  <a:pt x="6465" y="36690"/>
                  <a:pt x="9981" y="57874"/>
                  <a:pt x="15531" y="72213"/>
                </a:cubicBezTo>
                <a:cubicBezTo>
                  <a:pt x="15531" y="72213"/>
                  <a:pt x="15531" y="72213"/>
                  <a:pt x="15531" y="7221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4" name="Freeform: Shape 533">
            <a:extLst>
              <a:ext uri="{FF2B5EF4-FFF2-40B4-BE49-F238E27FC236}">
                <a16:creationId xmlns="" xmlns:a16="http://schemas.microsoft.com/office/drawing/2014/main" id="{E09DA7B5-7D49-4973-95DA-CD9EA45F4FF5}"/>
              </a:ext>
            </a:extLst>
          </p:cNvPr>
          <p:cNvSpPr/>
          <p:nvPr/>
        </p:nvSpPr>
        <p:spPr>
          <a:xfrm>
            <a:off x="144721" y="4211102"/>
            <a:ext cx="74007" cy="64756"/>
          </a:xfrm>
          <a:custGeom>
            <a:avLst/>
            <a:gdLst>
              <a:gd name="connsiteX0" fmla="*/ 6717 w 74007"/>
              <a:gd name="connsiteY0" fmla="*/ 6717 h 64756"/>
              <a:gd name="connsiteX1" fmla="*/ 6717 w 74007"/>
              <a:gd name="connsiteY1" fmla="*/ 6717 h 64756"/>
              <a:gd name="connsiteX2" fmla="*/ 68050 w 74007"/>
              <a:gd name="connsiteY2" fmla="*/ 58522 h 64756"/>
              <a:gd name="connsiteX3" fmla="*/ 6717 w 74007"/>
              <a:gd name="connsiteY3" fmla="*/ 6717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07" h="64756">
                <a:moveTo>
                  <a:pt x="6717" y="6717"/>
                </a:moveTo>
                <a:cubicBezTo>
                  <a:pt x="6717" y="6717"/>
                  <a:pt x="6717" y="6717"/>
                  <a:pt x="6717" y="6717"/>
                </a:cubicBezTo>
                <a:cubicBezTo>
                  <a:pt x="28364" y="19483"/>
                  <a:pt x="50751" y="36690"/>
                  <a:pt x="68050" y="58522"/>
                </a:cubicBezTo>
                <a:cubicBezTo>
                  <a:pt x="50844" y="36690"/>
                  <a:pt x="28456" y="19483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5" name="Freeform: Shape 534">
            <a:extLst>
              <a:ext uri="{FF2B5EF4-FFF2-40B4-BE49-F238E27FC236}">
                <a16:creationId xmlns="" xmlns:a16="http://schemas.microsoft.com/office/drawing/2014/main" id="{5E62F3FF-6294-4483-89D1-D76642AA0F5C}"/>
              </a:ext>
            </a:extLst>
          </p:cNvPr>
          <p:cNvSpPr/>
          <p:nvPr/>
        </p:nvSpPr>
        <p:spPr>
          <a:xfrm>
            <a:off x="1043137" y="3059920"/>
            <a:ext cx="83258" cy="129513"/>
          </a:xfrm>
          <a:custGeom>
            <a:avLst/>
            <a:gdLst>
              <a:gd name="connsiteX0" fmla="*/ 72244 w 83258"/>
              <a:gd name="connsiteY0" fmla="*/ 81742 h 129512"/>
              <a:gd name="connsiteX1" fmla="*/ 76222 w 83258"/>
              <a:gd name="connsiteY1" fmla="*/ 62685 h 129512"/>
              <a:gd name="connsiteX2" fmla="*/ 78072 w 83258"/>
              <a:gd name="connsiteY2" fmla="*/ 6717 h 129512"/>
              <a:gd name="connsiteX3" fmla="*/ 26175 w 83258"/>
              <a:gd name="connsiteY3" fmla="*/ 33359 h 129512"/>
              <a:gd name="connsiteX4" fmla="*/ 10078 w 83258"/>
              <a:gd name="connsiteY4" fmla="*/ 45756 h 129512"/>
              <a:gd name="connsiteX5" fmla="*/ 10263 w 83258"/>
              <a:gd name="connsiteY5" fmla="*/ 124203 h 129512"/>
              <a:gd name="connsiteX6" fmla="*/ 72244 w 83258"/>
              <a:gd name="connsiteY6" fmla="*/ 81742 h 12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258" h="129512">
                <a:moveTo>
                  <a:pt x="72244" y="81742"/>
                </a:moveTo>
                <a:cubicBezTo>
                  <a:pt x="73909" y="75451"/>
                  <a:pt x="75204" y="69068"/>
                  <a:pt x="76222" y="62685"/>
                </a:cubicBezTo>
                <a:cubicBezTo>
                  <a:pt x="79182" y="43628"/>
                  <a:pt x="79460" y="24386"/>
                  <a:pt x="78072" y="6717"/>
                </a:cubicBezTo>
                <a:cubicBezTo>
                  <a:pt x="60773" y="13192"/>
                  <a:pt x="42734" y="21888"/>
                  <a:pt x="26175" y="33359"/>
                </a:cubicBezTo>
                <a:cubicBezTo>
                  <a:pt x="20624" y="37152"/>
                  <a:pt x="15259" y="41315"/>
                  <a:pt x="10078" y="45756"/>
                </a:cubicBezTo>
                <a:cubicBezTo>
                  <a:pt x="4990" y="72491"/>
                  <a:pt x="6193" y="99873"/>
                  <a:pt x="10263" y="124203"/>
                </a:cubicBezTo>
                <a:cubicBezTo>
                  <a:pt x="31540" y="114027"/>
                  <a:pt x="53835" y="100058"/>
                  <a:pt x="72244" y="8174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6" name="Freeform: Shape 535">
            <a:extLst>
              <a:ext uri="{FF2B5EF4-FFF2-40B4-BE49-F238E27FC236}">
                <a16:creationId xmlns="" xmlns:a16="http://schemas.microsoft.com/office/drawing/2014/main" id="{8C0A56BD-AF4F-45E8-A217-3C855C199DD1}"/>
              </a:ext>
            </a:extLst>
          </p:cNvPr>
          <p:cNvSpPr/>
          <p:nvPr/>
        </p:nvSpPr>
        <p:spPr>
          <a:xfrm>
            <a:off x="1112642" y="3059920"/>
            <a:ext cx="9251" cy="64756"/>
          </a:xfrm>
          <a:custGeom>
            <a:avLst/>
            <a:gdLst>
              <a:gd name="connsiteX0" fmla="*/ 6717 w 9250"/>
              <a:gd name="connsiteY0" fmla="*/ 62685 h 64756"/>
              <a:gd name="connsiteX1" fmla="*/ 8567 w 9250"/>
              <a:gd name="connsiteY1" fmla="*/ 6717 h 64756"/>
              <a:gd name="connsiteX2" fmla="*/ 8567 w 9250"/>
              <a:gd name="connsiteY2" fmla="*/ 6717 h 64756"/>
              <a:gd name="connsiteX3" fmla="*/ 6717 w 9250"/>
              <a:gd name="connsiteY3" fmla="*/ 62685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0" h="64756">
                <a:moveTo>
                  <a:pt x="6717" y="62685"/>
                </a:moveTo>
                <a:cubicBezTo>
                  <a:pt x="9677" y="43535"/>
                  <a:pt x="9955" y="24386"/>
                  <a:pt x="8567" y="6717"/>
                </a:cubicBezTo>
                <a:cubicBezTo>
                  <a:pt x="8567" y="6717"/>
                  <a:pt x="8567" y="6717"/>
                  <a:pt x="8567" y="6717"/>
                </a:cubicBezTo>
                <a:cubicBezTo>
                  <a:pt x="9955" y="24479"/>
                  <a:pt x="9770" y="43628"/>
                  <a:pt x="6717" y="6268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7" name="Freeform: Shape 536">
            <a:extLst>
              <a:ext uri="{FF2B5EF4-FFF2-40B4-BE49-F238E27FC236}">
                <a16:creationId xmlns="" xmlns:a16="http://schemas.microsoft.com/office/drawing/2014/main" id="{AADD15CE-0EE8-492C-9861-99302C00A84C}"/>
              </a:ext>
            </a:extLst>
          </p:cNvPr>
          <p:cNvSpPr/>
          <p:nvPr/>
        </p:nvSpPr>
        <p:spPr>
          <a:xfrm>
            <a:off x="1190997" y="2206155"/>
            <a:ext cx="83258" cy="138763"/>
          </a:xfrm>
          <a:custGeom>
            <a:avLst/>
            <a:gdLst>
              <a:gd name="connsiteX0" fmla="*/ 17540 w 83258"/>
              <a:gd name="connsiteY0" fmla="*/ 97468 h 138763"/>
              <a:gd name="connsiteX1" fmla="*/ 57227 w 83258"/>
              <a:gd name="connsiteY1" fmla="*/ 140300 h 138763"/>
              <a:gd name="connsiteX2" fmla="*/ 74618 w 83258"/>
              <a:gd name="connsiteY2" fmla="*/ 87107 h 138763"/>
              <a:gd name="connsiteX3" fmla="*/ 77394 w 83258"/>
              <a:gd name="connsiteY3" fmla="*/ 67865 h 138763"/>
              <a:gd name="connsiteX4" fmla="*/ 33637 w 83258"/>
              <a:gd name="connsiteY4" fmla="*/ 6717 h 138763"/>
              <a:gd name="connsiteX5" fmla="*/ 6717 w 83258"/>
              <a:gd name="connsiteY5" fmla="*/ 80354 h 138763"/>
              <a:gd name="connsiteX6" fmla="*/ 17540 w 83258"/>
              <a:gd name="connsiteY6" fmla="*/ 97468 h 13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258" h="138763">
                <a:moveTo>
                  <a:pt x="17540" y="97468"/>
                </a:moveTo>
                <a:cubicBezTo>
                  <a:pt x="29196" y="113935"/>
                  <a:pt x="43165" y="128274"/>
                  <a:pt x="57227" y="140300"/>
                </a:cubicBezTo>
                <a:cubicBezTo>
                  <a:pt x="64535" y="124203"/>
                  <a:pt x="70918" y="106071"/>
                  <a:pt x="74618" y="87107"/>
                </a:cubicBezTo>
                <a:cubicBezTo>
                  <a:pt x="75821" y="80817"/>
                  <a:pt x="76839" y="74341"/>
                  <a:pt x="77394" y="67865"/>
                </a:cubicBezTo>
                <a:cubicBezTo>
                  <a:pt x="66293" y="44275"/>
                  <a:pt x="50196" y="23553"/>
                  <a:pt x="33637" y="6717"/>
                </a:cubicBezTo>
                <a:cubicBezTo>
                  <a:pt x="21518" y="28179"/>
                  <a:pt x="10972" y="53526"/>
                  <a:pt x="6717" y="80354"/>
                </a:cubicBezTo>
                <a:cubicBezTo>
                  <a:pt x="10047" y="86275"/>
                  <a:pt x="13655" y="92010"/>
                  <a:pt x="17540" y="9746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8" name="Freeform: Shape 537">
            <a:extLst>
              <a:ext uri="{FF2B5EF4-FFF2-40B4-BE49-F238E27FC236}">
                <a16:creationId xmlns="" xmlns:a16="http://schemas.microsoft.com/office/drawing/2014/main" id="{8875E905-7794-47DB-86B5-B237B417CC92}"/>
              </a:ext>
            </a:extLst>
          </p:cNvPr>
          <p:cNvSpPr/>
          <p:nvPr/>
        </p:nvSpPr>
        <p:spPr>
          <a:xfrm>
            <a:off x="1201821" y="2296906"/>
            <a:ext cx="46255" cy="55505"/>
          </a:xfrm>
          <a:custGeom>
            <a:avLst/>
            <a:gdLst>
              <a:gd name="connsiteX0" fmla="*/ 6717 w 46254"/>
              <a:gd name="connsiteY0" fmla="*/ 6717 h 55505"/>
              <a:gd name="connsiteX1" fmla="*/ 46403 w 46254"/>
              <a:gd name="connsiteY1" fmla="*/ 49548 h 55505"/>
              <a:gd name="connsiteX2" fmla="*/ 46403 w 46254"/>
              <a:gd name="connsiteY2" fmla="*/ 49548 h 55505"/>
              <a:gd name="connsiteX3" fmla="*/ 6717 w 46254"/>
              <a:gd name="connsiteY3" fmla="*/ 6717 h 55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55505">
                <a:moveTo>
                  <a:pt x="6717" y="6717"/>
                </a:moveTo>
                <a:cubicBezTo>
                  <a:pt x="18373" y="23183"/>
                  <a:pt x="32342" y="37522"/>
                  <a:pt x="46403" y="49548"/>
                </a:cubicBezTo>
                <a:cubicBezTo>
                  <a:pt x="46403" y="49548"/>
                  <a:pt x="46403" y="49548"/>
                  <a:pt x="46403" y="49548"/>
                </a:cubicBezTo>
                <a:cubicBezTo>
                  <a:pt x="32342" y="37522"/>
                  <a:pt x="18373" y="23183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39" name="Freeform: Shape 538">
            <a:extLst>
              <a:ext uri="{FF2B5EF4-FFF2-40B4-BE49-F238E27FC236}">
                <a16:creationId xmlns="" xmlns:a16="http://schemas.microsoft.com/office/drawing/2014/main" id="{DDFDE934-3018-44AE-8780-C859A57670D6}"/>
              </a:ext>
            </a:extLst>
          </p:cNvPr>
          <p:cNvSpPr/>
          <p:nvPr/>
        </p:nvSpPr>
        <p:spPr>
          <a:xfrm>
            <a:off x="359064" y="3633736"/>
            <a:ext cx="138764" cy="74007"/>
          </a:xfrm>
          <a:custGeom>
            <a:avLst/>
            <a:gdLst>
              <a:gd name="connsiteX0" fmla="*/ 134102 w 138763"/>
              <a:gd name="connsiteY0" fmla="*/ 20518 h 74007"/>
              <a:gd name="connsiteX1" fmla="*/ 77209 w 138763"/>
              <a:gd name="connsiteY1" fmla="*/ 7567 h 74007"/>
              <a:gd name="connsiteX2" fmla="*/ 56949 w 138763"/>
              <a:gd name="connsiteY2" fmla="*/ 6734 h 74007"/>
              <a:gd name="connsiteX3" fmla="*/ 41963 w 138763"/>
              <a:gd name="connsiteY3" fmla="*/ 20425 h 74007"/>
              <a:gd name="connsiteX4" fmla="*/ 6717 w 138763"/>
              <a:gd name="connsiteY4" fmla="*/ 66957 h 74007"/>
              <a:gd name="connsiteX5" fmla="*/ 71843 w 138763"/>
              <a:gd name="connsiteY5" fmla="*/ 74821 h 74007"/>
              <a:gd name="connsiteX6" fmla="*/ 81557 w 138763"/>
              <a:gd name="connsiteY6" fmla="*/ 74266 h 74007"/>
              <a:gd name="connsiteX7" fmla="*/ 134102 w 138763"/>
              <a:gd name="connsiteY7" fmla="*/ 20518 h 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763" h="74007">
                <a:moveTo>
                  <a:pt x="134102" y="20518"/>
                </a:moveTo>
                <a:cubicBezTo>
                  <a:pt x="116710" y="14320"/>
                  <a:pt x="97283" y="9417"/>
                  <a:pt x="77209" y="7567"/>
                </a:cubicBezTo>
                <a:cubicBezTo>
                  <a:pt x="70548" y="6919"/>
                  <a:pt x="63702" y="6642"/>
                  <a:pt x="56949" y="6734"/>
                </a:cubicBezTo>
                <a:cubicBezTo>
                  <a:pt x="51676" y="10990"/>
                  <a:pt x="46681" y="15615"/>
                  <a:pt x="41963" y="20425"/>
                </a:cubicBezTo>
                <a:cubicBezTo>
                  <a:pt x="27809" y="34764"/>
                  <a:pt x="16060" y="51046"/>
                  <a:pt x="6717" y="66957"/>
                </a:cubicBezTo>
                <a:cubicBezTo>
                  <a:pt x="26699" y="72138"/>
                  <a:pt x="49178" y="75468"/>
                  <a:pt x="71843" y="74821"/>
                </a:cubicBezTo>
                <a:cubicBezTo>
                  <a:pt x="75081" y="74728"/>
                  <a:pt x="78319" y="74543"/>
                  <a:pt x="81557" y="74266"/>
                </a:cubicBezTo>
                <a:cubicBezTo>
                  <a:pt x="102741" y="59187"/>
                  <a:pt x="120318" y="39760"/>
                  <a:pt x="134102" y="2051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0" name="Freeform: Shape 539">
            <a:extLst>
              <a:ext uri="{FF2B5EF4-FFF2-40B4-BE49-F238E27FC236}">
                <a16:creationId xmlns="" xmlns:a16="http://schemas.microsoft.com/office/drawing/2014/main" id="{BBAD11B3-CE88-4085-926F-BA4CD623A293}"/>
              </a:ext>
            </a:extLst>
          </p:cNvPr>
          <p:cNvSpPr/>
          <p:nvPr/>
        </p:nvSpPr>
        <p:spPr>
          <a:xfrm>
            <a:off x="433811" y="3647537"/>
            <a:ext cx="64756" cy="64756"/>
          </a:xfrm>
          <a:custGeom>
            <a:avLst/>
            <a:gdLst>
              <a:gd name="connsiteX0" fmla="*/ 59354 w 64756"/>
              <a:gd name="connsiteY0" fmla="*/ 6717 h 64756"/>
              <a:gd name="connsiteX1" fmla="*/ 6717 w 64756"/>
              <a:gd name="connsiteY1" fmla="*/ 60372 h 64756"/>
              <a:gd name="connsiteX2" fmla="*/ 59354 w 64756"/>
              <a:gd name="connsiteY2" fmla="*/ 6717 h 64756"/>
              <a:gd name="connsiteX3" fmla="*/ 59354 w 64756"/>
              <a:gd name="connsiteY3" fmla="*/ 6717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64756">
                <a:moveTo>
                  <a:pt x="59354" y="6717"/>
                </a:moveTo>
                <a:cubicBezTo>
                  <a:pt x="45663" y="25958"/>
                  <a:pt x="27994" y="45385"/>
                  <a:pt x="6717" y="60372"/>
                </a:cubicBezTo>
                <a:cubicBezTo>
                  <a:pt x="27994" y="45385"/>
                  <a:pt x="45571" y="25958"/>
                  <a:pt x="59354" y="6717"/>
                </a:cubicBezTo>
                <a:cubicBezTo>
                  <a:pt x="59354" y="6717"/>
                  <a:pt x="59354" y="6717"/>
                  <a:pt x="59354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1" name="Freeform: Shape 540">
            <a:extLst>
              <a:ext uri="{FF2B5EF4-FFF2-40B4-BE49-F238E27FC236}">
                <a16:creationId xmlns="" xmlns:a16="http://schemas.microsoft.com/office/drawing/2014/main" id="{CF1FFE43-9ED6-493E-AA63-946A7BEC70BA}"/>
              </a:ext>
            </a:extLst>
          </p:cNvPr>
          <p:cNvSpPr/>
          <p:nvPr/>
        </p:nvSpPr>
        <p:spPr>
          <a:xfrm>
            <a:off x="358971" y="3647445"/>
            <a:ext cx="46255" cy="55505"/>
          </a:xfrm>
          <a:custGeom>
            <a:avLst/>
            <a:gdLst>
              <a:gd name="connsiteX0" fmla="*/ 6717 w 46254"/>
              <a:gd name="connsiteY0" fmla="*/ 53249 h 55505"/>
              <a:gd name="connsiteX1" fmla="*/ 6717 w 46254"/>
              <a:gd name="connsiteY1" fmla="*/ 53249 h 55505"/>
              <a:gd name="connsiteX2" fmla="*/ 41963 w 46254"/>
              <a:gd name="connsiteY2" fmla="*/ 6717 h 55505"/>
              <a:gd name="connsiteX3" fmla="*/ 6717 w 46254"/>
              <a:gd name="connsiteY3" fmla="*/ 53249 h 55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55505">
                <a:moveTo>
                  <a:pt x="6717" y="53249"/>
                </a:moveTo>
                <a:cubicBezTo>
                  <a:pt x="6717" y="53249"/>
                  <a:pt x="6717" y="53249"/>
                  <a:pt x="6717" y="53249"/>
                </a:cubicBezTo>
                <a:cubicBezTo>
                  <a:pt x="16060" y="37337"/>
                  <a:pt x="27809" y="21148"/>
                  <a:pt x="41963" y="6717"/>
                </a:cubicBezTo>
                <a:cubicBezTo>
                  <a:pt x="27809" y="21056"/>
                  <a:pt x="16060" y="37337"/>
                  <a:pt x="6717" y="5324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2" name="Freeform: Shape 541">
            <a:extLst>
              <a:ext uri="{FF2B5EF4-FFF2-40B4-BE49-F238E27FC236}">
                <a16:creationId xmlns="" xmlns:a16="http://schemas.microsoft.com/office/drawing/2014/main" id="{78788B46-1EE9-4E5B-B205-1EC2A7C3B8C5}"/>
              </a:ext>
            </a:extLst>
          </p:cNvPr>
          <p:cNvSpPr/>
          <p:nvPr/>
        </p:nvSpPr>
        <p:spPr>
          <a:xfrm>
            <a:off x="851952" y="986461"/>
            <a:ext cx="453294" cy="444043"/>
          </a:xfrm>
          <a:custGeom>
            <a:avLst/>
            <a:gdLst>
              <a:gd name="connsiteX0" fmla="*/ 109217 w 453294"/>
              <a:gd name="connsiteY0" fmla="*/ 174028 h 444043"/>
              <a:gd name="connsiteX1" fmla="*/ 6717 w 453294"/>
              <a:gd name="connsiteY1" fmla="*/ 221208 h 444043"/>
              <a:gd name="connsiteX2" fmla="*/ 112917 w 453294"/>
              <a:gd name="connsiteY2" fmla="*/ 259229 h 444043"/>
              <a:gd name="connsiteX3" fmla="*/ 130031 w 453294"/>
              <a:gd name="connsiteY3" fmla="*/ 258396 h 444043"/>
              <a:gd name="connsiteX4" fmla="*/ 121335 w 453294"/>
              <a:gd name="connsiteY4" fmla="*/ 351275 h 444043"/>
              <a:gd name="connsiteX5" fmla="*/ 211254 w 453294"/>
              <a:gd name="connsiteY5" fmla="*/ 326575 h 444043"/>
              <a:gd name="connsiteX6" fmla="*/ 217637 w 453294"/>
              <a:gd name="connsiteY6" fmla="*/ 359971 h 444043"/>
              <a:gd name="connsiteX7" fmla="*/ 269350 w 453294"/>
              <a:gd name="connsiteY7" fmla="*/ 441564 h 444043"/>
              <a:gd name="connsiteX8" fmla="*/ 298213 w 453294"/>
              <a:gd name="connsiteY8" fmla="*/ 349333 h 444043"/>
              <a:gd name="connsiteX9" fmla="*/ 295715 w 453294"/>
              <a:gd name="connsiteY9" fmla="*/ 315474 h 444043"/>
              <a:gd name="connsiteX10" fmla="*/ 429853 w 453294"/>
              <a:gd name="connsiteY10" fmla="*/ 172085 h 444043"/>
              <a:gd name="connsiteX11" fmla="*/ 310701 w 453294"/>
              <a:gd name="connsiteY11" fmla="*/ 149143 h 444043"/>
              <a:gd name="connsiteX12" fmla="*/ 327816 w 453294"/>
              <a:gd name="connsiteY12" fmla="*/ 212234 h 444043"/>
              <a:gd name="connsiteX13" fmla="*/ 267315 w 453294"/>
              <a:gd name="connsiteY13" fmla="*/ 218340 h 444043"/>
              <a:gd name="connsiteX14" fmla="*/ 259081 w 453294"/>
              <a:gd name="connsiteY14" fmla="*/ 187072 h 444043"/>
              <a:gd name="connsiteX15" fmla="*/ 226796 w 453294"/>
              <a:gd name="connsiteY15" fmla="*/ 184389 h 444043"/>
              <a:gd name="connsiteX16" fmla="*/ 222263 w 453294"/>
              <a:gd name="connsiteY16" fmla="*/ 123796 h 444043"/>
              <a:gd name="connsiteX17" fmla="*/ 287297 w 453294"/>
              <a:gd name="connsiteY17" fmla="*/ 129716 h 444043"/>
              <a:gd name="connsiteX18" fmla="*/ 244002 w 453294"/>
              <a:gd name="connsiteY18" fmla="*/ 16393 h 444043"/>
              <a:gd name="connsiteX19" fmla="*/ 126146 w 453294"/>
              <a:gd name="connsiteY19" fmla="*/ 173380 h 444043"/>
              <a:gd name="connsiteX20" fmla="*/ 109217 w 453294"/>
              <a:gd name="connsiteY20" fmla="*/ 174028 h 444043"/>
              <a:gd name="connsiteX21" fmla="*/ 205704 w 453294"/>
              <a:gd name="connsiteY21" fmla="*/ 250718 h 444043"/>
              <a:gd name="connsiteX22" fmla="*/ 174991 w 453294"/>
              <a:gd name="connsiteY22" fmla="*/ 287259 h 444043"/>
              <a:gd name="connsiteX23" fmla="*/ 205704 w 453294"/>
              <a:gd name="connsiteY23" fmla="*/ 250718 h 444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53294" h="444043">
                <a:moveTo>
                  <a:pt x="109217" y="174028"/>
                </a:moveTo>
                <a:cubicBezTo>
                  <a:pt x="69715" y="178098"/>
                  <a:pt x="34007" y="198820"/>
                  <a:pt x="6717" y="221208"/>
                </a:cubicBezTo>
                <a:cubicBezTo>
                  <a:pt x="35765" y="241190"/>
                  <a:pt x="73231" y="258674"/>
                  <a:pt x="112917" y="259229"/>
                </a:cubicBezTo>
                <a:cubicBezTo>
                  <a:pt x="118560" y="259321"/>
                  <a:pt x="124296" y="259044"/>
                  <a:pt x="130031" y="258396"/>
                </a:cubicBezTo>
                <a:cubicBezTo>
                  <a:pt x="116155" y="296972"/>
                  <a:pt x="114860" y="327593"/>
                  <a:pt x="121335" y="351275"/>
                </a:cubicBezTo>
                <a:cubicBezTo>
                  <a:pt x="145758" y="353495"/>
                  <a:pt x="175731" y="346927"/>
                  <a:pt x="211254" y="326575"/>
                </a:cubicBezTo>
                <a:cubicBezTo>
                  <a:pt x="211994" y="338139"/>
                  <a:pt x="214214" y="349240"/>
                  <a:pt x="217637" y="359971"/>
                </a:cubicBezTo>
                <a:cubicBezTo>
                  <a:pt x="227813" y="392072"/>
                  <a:pt x="248258" y="420009"/>
                  <a:pt x="269350" y="441564"/>
                </a:cubicBezTo>
                <a:cubicBezTo>
                  <a:pt x="284244" y="415292"/>
                  <a:pt x="296732" y="383006"/>
                  <a:pt x="298213" y="349333"/>
                </a:cubicBezTo>
                <a:cubicBezTo>
                  <a:pt x="298675" y="338139"/>
                  <a:pt x="297935" y="326760"/>
                  <a:pt x="295715" y="315474"/>
                </a:cubicBezTo>
                <a:cubicBezTo>
                  <a:pt x="452795" y="356733"/>
                  <a:pt x="468337" y="213252"/>
                  <a:pt x="429853" y="172085"/>
                </a:cubicBezTo>
                <a:cubicBezTo>
                  <a:pt x="401545" y="141835"/>
                  <a:pt x="346687" y="122501"/>
                  <a:pt x="310701" y="149143"/>
                </a:cubicBezTo>
                <a:cubicBezTo>
                  <a:pt x="283874" y="169033"/>
                  <a:pt x="292570" y="218062"/>
                  <a:pt x="327816" y="212234"/>
                </a:cubicBezTo>
                <a:cubicBezTo>
                  <a:pt x="456958" y="190587"/>
                  <a:pt x="332811" y="347020"/>
                  <a:pt x="267315" y="218340"/>
                </a:cubicBezTo>
                <a:cubicBezTo>
                  <a:pt x="262504" y="208811"/>
                  <a:pt x="259821" y="198173"/>
                  <a:pt x="259081" y="187072"/>
                </a:cubicBezTo>
                <a:cubicBezTo>
                  <a:pt x="247980" y="188274"/>
                  <a:pt x="236972" y="187534"/>
                  <a:pt x="226796" y="184389"/>
                </a:cubicBezTo>
                <a:cubicBezTo>
                  <a:pt x="88680" y="142297"/>
                  <a:pt x="221153" y="-7197"/>
                  <a:pt x="222263" y="123796"/>
                </a:cubicBezTo>
                <a:cubicBezTo>
                  <a:pt x="222633" y="159504"/>
                  <a:pt x="272403" y="159597"/>
                  <a:pt x="287297" y="129716"/>
                </a:cubicBezTo>
                <a:cubicBezTo>
                  <a:pt x="307279" y="89752"/>
                  <a:pt x="278693" y="39057"/>
                  <a:pt x="244002" y="16393"/>
                </a:cubicBezTo>
                <a:cubicBezTo>
                  <a:pt x="196823" y="-14413"/>
                  <a:pt x="58152" y="25829"/>
                  <a:pt x="126146" y="173380"/>
                </a:cubicBezTo>
                <a:cubicBezTo>
                  <a:pt x="120595" y="173195"/>
                  <a:pt x="114860" y="173380"/>
                  <a:pt x="109217" y="174028"/>
                </a:cubicBezTo>
                <a:close/>
                <a:moveTo>
                  <a:pt x="205704" y="250718"/>
                </a:moveTo>
                <a:cubicBezTo>
                  <a:pt x="197748" y="269312"/>
                  <a:pt x="186832" y="280876"/>
                  <a:pt x="174991" y="287259"/>
                </a:cubicBezTo>
                <a:cubicBezTo>
                  <a:pt x="179339" y="274585"/>
                  <a:pt x="188774" y="261727"/>
                  <a:pt x="205704" y="25071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3" name="Freeform: Shape 542">
            <a:extLst>
              <a:ext uri="{FF2B5EF4-FFF2-40B4-BE49-F238E27FC236}">
                <a16:creationId xmlns="" xmlns:a16="http://schemas.microsoft.com/office/drawing/2014/main" id="{4A69537E-A8FC-495F-BB02-D483ECE04E47}"/>
              </a:ext>
            </a:extLst>
          </p:cNvPr>
          <p:cNvSpPr/>
          <p:nvPr/>
        </p:nvSpPr>
        <p:spPr>
          <a:xfrm>
            <a:off x="1062872" y="1339716"/>
            <a:ext cx="64756" cy="92509"/>
          </a:xfrm>
          <a:custGeom>
            <a:avLst/>
            <a:gdLst>
              <a:gd name="connsiteX0" fmla="*/ 58429 w 64756"/>
              <a:gd name="connsiteY0" fmla="*/ 88310 h 92508"/>
              <a:gd name="connsiteX1" fmla="*/ 58429 w 64756"/>
              <a:gd name="connsiteY1" fmla="*/ 88310 h 92508"/>
              <a:gd name="connsiteX2" fmla="*/ 6717 w 64756"/>
              <a:gd name="connsiteY2" fmla="*/ 6717 h 92508"/>
              <a:gd name="connsiteX3" fmla="*/ 58429 w 64756"/>
              <a:gd name="connsiteY3" fmla="*/ 88310 h 9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92508">
                <a:moveTo>
                  <a:pt x="58429" y="88310"/>
                </a:moveTo>
                <a:cubicBezTo>
                  <a:pt x="58429" y="88310"/>
                  <a:pt x="58429" y="88310"/>
                  <a:pt x="58429" y="88310"/>
                </a:cubicBezTo>
                <a:cubicBezTo>
                  <a:pt x="37245" y="66755"/>
                  <a:pt x="16800" y="38817"/>
                  <a:pt x="6717" y="6717"/>
                </a:cubicBezTo>
                <a:cubicBezTo>
                  <a:pt x="16800" y="38817"/>
                  <a:pt x="37337" y="66755"/>
                  <a:pt x="58429" y="8831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4" name="Freeform: Shape 543">
            <a:extLst>
              <a:ext uri="{FF2B5EF4-FFF2-40B4-BE49-F238E27FC236}">
                <a16:creationId xmlns="" xmlns:a16="http://schemas.microsoft.com/office/drawing/2014/main" id="{019E29CF-17FC-40FE-A2C1-2FCF83EFD3E3}"/>
              </a:ext>
            </a:extLst>
          </p:cNvPr>
          <p:cNvSpPr/>
          <p:nvPr/>
        </p:nvSpPr>
        <p:spPr>
          <a:xfrm>
            <a:off x="851952" y="1153680"/>
            <a:ext cx="111011" cy="55505"/>
          </a:xfrm>
          <a:custGeom>
            <a:avLst/>
            <a:gdLst>
              <a:gd name="connsiteX0" fmla="*/ 6717 w 111010"/>
              <a:gd name="connsiteY0" fmla="*/ 53896 h 55505"/>
              <a:gd name="connsiteX1" fmla="*/ 6717 w 111010"/>
              <a:gd name="connsiteY1" fmla="*/ 53896 h 55505"/>
              <a:gd name="connsiteX2" fmla="*/ 109217 w 111010"/>
              <a:gd name="connsiteY2" fmla="*/ 6717 h 55505"/>
              <a:gd name="connsiteX3" fmla="*/ 6717 w 111010"/>
              <a:gd name="connsiteY3" fmla="*/ 53896 h 55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010" h="55505">
                <a:moveTo>
                  <a:pt x="6717" y="53896"/>
                </a:moveTo>
                <a:cubicBezTo>
                  <a:pt x="6717" y="53896"/>
                  <a:pt x="6717" y="53989"/>
                  <a:pt x="6717" y="53896"/>
                </a:cubicBezTo>
                <a:cubicBezTo>
                  <a:pt x="33914" y="31509"/>
                  <a:pt x="69715" y="10787"/>
                  <a:pt x="109217" y="6717"/>
                </a:cubicBezTo>
                <a:cubicBezTo>
                  <a:pt x="69715" y="10880"/>
                  <a:pt x="33914" y="31509"/>
                  <a:pt x="6717" y="53896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5" name="Freeform: Shape 544">
            <a:extLst>
              <a:ext uri="{FF2B5EF4-FFF2-40B4-BE49-F238E27FC236}">
                <a16:creationId xmlns="" xmlns:a16="http://schemas.microsoft.com/office/drawing/2014/main" id="{C026414F-8EB2-4F83-A1A3-6854EA110098}"/>
              </a:ext>
            </a:extLst>
          </p:cNvPr>
          <p:cNvSpPr/>
          <p:nvPr/>
        </p:nvSpPr>
        <p:spPr>
          <a:xfrm>
            <a:off x="-6809" y="1202895"/>
            <a:ext cx="74007" cy="83258"/>
          </a:xfrm>
          <a:custGeom>
            <a:avLst/>
            <a:gdLst>
              <a:gd name="connsiteX0" fmla="*/ 28549 w 74007"/>
              <a:gd name="connsiteY0" fmla="*/ 69345 h 83258"/>
              <a:gd name="connsiteX1" fmla="*/ 74618 w 74007"/>
              <a:gd name="connsiteY1" fmla="*/ 39187 h 83258"/>
              <a:gd name="connsiteX2" fmla="*/ 25219 w 74007"/>
              <a:gd name="connsiteY2" fmla="*/ 12822 h 83258"/>
              <a:gd name="connsiteX3" fmla="*/ 6717 w 74007"/>
              <a:gd name="connsiteY3" fmla="*/ 6717 h 83258"/>
              <a:gd name="connsiteX4" fmla="*/ 6717 w 74007"/>
              <a:gd name="connsiteY4" fmla="*/ 78504 h 83258"/>
              <a:gd name="connsiteX5" fmla="*/ 16245 w 74007"/>
              <a:gd name="connsiteY5" fmla="*/ 74896 h 83258"/>
              <a:gd name="connsiteX6" fmla="*/ 28549 w 74007"/>
              <a:gd name="connsiteY6" fmla="*/ 69345 h 8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007" h="83258">
                <a:moveTo>
                  <a:pt x="28549" y="69345"/>
                </a:moveTo>
                <a:cubicBezTo>
                  <a:pt x="45571" y="60927"/>
                  <a:pt x="61112" y="50289"/>
                  <a:pt x="74618" y="39187"/>
                </a:cubicBezTo>
                <a:cubicBezTo>
                  <a:pt x="60002" y="29197"/>
                  <a:pt x="43258" y="19761"/>
                  <a:pt x="25219" y="12822"/>
                </a:cubicBezTo>
                <a:cubicBezTo>
                  <a:pt x="19205" y="10510"/>
                  <a:pt x="13007" y="8474"/>
                  <a:pt x="6717" y="6717"/>
                </a:cubicBezTo>
                <a:lnTo>
                  <a:pt x="6717" y="78504"/>
                </a:lnTo>
                <a:cubicBezTo>
                  <a:pt x="9955" y="77394"/>
                  <a:pt x="13100" y="76191"/>
                  <a:pt x="16245" y="74896"/>
                </a:cubicBezTo>
                <a:cubicBezTo>
                  <a:pt x="20501" y="73231"/>
                  <a:pt x="24571" y="71381"/>
                  <a:pt x="28549" y="6934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6" name="Freeform: Shape 545">
            <a:extLst>
              <a:ext uri="{FF2B5EF4-FFF2-40B4-BE49-F238E27FC236}">
                <a16:creationId xmlns="" xmlns:a16="http://schemas.microsoft.com/office/drawing/2014/main" id="{3C59D9F8-66E8-4AFA-955F-A1AC9F0EF37D}"/>
              </a:ext>
            </a:extLst>
          </p:cNvPr>
          <p:cNvSpPr/>
          <p:nvPr/>
        </p:nvSpPr>
        <p:spPr>
          <a:xfrm>
            <a:off x="15023" y="1235458"/>
            <a:ext cx="55505" cy="37004"/>
          </a:xfrm>
          <a:custGeom>
            <a:avLst/>
            <a:gdLst>
              <a:gd name="connsiteX0" fmla="*/ 52786 w 55505"/>
              <a:gd name="connsiteY0" fmla="*/ 6717 h 37003"/>
              <a:gd name="connsiteX1" fmla="*/ 52786 w 55505"/>
              <a:gd name="connsiteY1" fmla="*/ 6717 h 37003"/>
              <a:gd name="connsiteX2" fmla="*/ 6717 w 55505"/>
              <a:gd name="connsiteY2" fmla="*/ 36875 h 37003"/>
              <a:gd name="connsiteX3" fmla="*/ 52786 w 55505"/>
              <a:gd name="connsiteY3" fmla="*/ 67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37003">
                <a:moveTo>
                  <a:pt x="52786" y="6717"/>
                </a:moveTo>
                <a:cubicBezTo>
                  <a:pt x="52786" y="6717"/>
                  <a:pt x="52786" y="6717"/>
                  <a:pt x="52786" y="6717"/>
                </a:cubicBezTo>
                <a:cubicBezTo>
                  <a:pt x="39372" y="17818"/>
                  <a:pt x="23738" y="28364"/>
                  <a:pt x="6717" y="36875"/>
                </a:cubicBezTo>
                <a:cubicBezTo>
                  <a:pt x="23831" y="28364"/>
                  <a:pt x="39372" y="17725"/>
                  <a:pt x="52786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7" name="Freeform: Shape 546">
            <a:extLst>
              <a:ext uri="{FF2B5EF4-FFF2-40B4-BE49-F238E27FC236}">
                <a16:creationId xmlns="" xmlns:a16="http://schemas.microsoft.com/office/drawing/2014/main" id="{45D3C41D-0EAA-40F7-99C2-3488588325DC}"/>
              </a:ext>
            </a:extLst>
          </p:cNvPr>
          <p:cNvSpPr/>
          <p:nvPr/>
        </p:nvSpPr>
        <p:spPr>
          <a:xfrm>
            <a:off x="1480273" y="1993577"/>
            <a:ext cx="360785" cy="407040"/>
          </a:xfrm>
          <a:custGeom>
            <a:avLst/>
            <a:gdLst>
              <a:gd name="connsiteX0" fmla="*/ 129106 w 360785"/>
              <a:gd name="connsiteY0" fmla="*/ 108006 h 407039"/>
              <a:gd name="connsiteX1" fmla="*/ 115507 w 360785"/>
              <a:gd name="connsiteY1" fmla="*/ 97553 h 407039"/>
              <a:gd name="connsiteX2" fmla="*/ 6717 w 360785"/>
              <a:gd name="connsiteY2" fmla="*/ 67857 h 407039"/>
              <a:gd name="connsiteX3" fmla="*/ 51491 w 360785"/>
              <a:gd name="connsiteY3" fmla="*/ 153428 h 407039"/>
              <a:gd name="connsiteX4" fmla="*/ 77209 w 360785"/>
              <a:gd name="connsiteY4" fmla="*/ 175630 h 407039"/>
              <a:gd name="connsiteX5" fmla="*/ 10880 w 360785"/>
              <a:gd name="connsiteY5" fmla="*/ 241127 h 407039"/>
              <a:gd name="connsiteX6" fmla="*/ 95618 w 360785"/>
              <a:gd name="connsiteY6" fmla="*/ 279981 h 407039"/>
              <a:gd name="connsiteX7" fmla="*/ 78966 w 360785"/>
              <a:gd name="connsiteY7" fmla="*/ 309676 h 407039"/>
              <a:gd name="connsiteX8" fmla="*/ 66200 w 360785"/>
              <a:gd name="connsiteY8" fmla="*/ 405423 h 407039"/>
              <a:gd name="connsiteX9" fmla="*/ 147608 w 360785"/>
              <a:gd name="connsiteY9" fmla="*/ 353340 h 407039"/>
              <a:gd name="connsiteX10" fmla="*/ 167497 w 360785"/>
              <a:gd name="connsiteY10" fmla="*/ 325773 h 407039"/>
              <a:gd name="connsiteX11" fmla="*/ 362414 w 360785"/>
              <a:gd name="connsiteY11" fmla="*/ 302183 h 407039"/>
              <a:gd name="connsiteX12" fmla="*/ 285909 w 360785"/>
              <a:gd name="connsiteY12" fmla="*/ 208009 h 407039"/>
              <a:gd name="connsiteX13" fmla="*/ 258526 w 360785"/>
              <a:gd name="connsiteY13" fmla="*/ 267307 h 407039"/>
              <a:gd name="connsiteX14" fmla="*/ 208294 w 360785"/>
              <a:gd name="connsiteY14" fmla="*/ 233079 h 407039"/>
              <a:gd name="connsiteX15" fmla="*/ 222078 w 360785"/>
              <a:gd name="connsiteY15" fmla="*/ 203846 h 407039"/>
              <a:gd name="connsiteX16" fmla="*/ 199135 w 360785"/>
              <a:gd name="connsiteY16" fmla="*/ 181089 h 407039"/>
              <a:gd name="connsiteX17" fmla="*/ 234659 w 360785"/>
              <a:gd name="connsiteY17" fmla="*/ 131781 h 407039"/>
              <a:gd name="connsiteX18" fmla="*/ 280728 w 360785"/>
              <a:gd name="connsiteY18" fmla="*/ 178128 h 407039"/>
              <a:gd name="connsiteX19" fmla="*/ 320415 w 360785"/>
              <a:gd name="connsiteY19" fmla="*/ 63510 h 407039"/>
              <a:gd name="connsiteX20" fmla="*/ 129106 w 360785"/>
              <a:gd name="connsiteY20" fmla="*/ 108006 h 407039"/>
              <a:gd name="connsiteX21" fmla="*/ 93120 w 360785"/>
              <a:gd name="connsiteY21" fmla="*/ 226695 h 407039"/>
              <a:gd name="connsiteX22" fmla="*/ 140115 w 360785"/>
              <a:gd name="connsiteY22" fmla="*/ 218370 h 407039"/>
              <a:gd name="connsiteX23" fmla="*/ 93120 w 360785"/>
              <a:gd name="connsiteY23" fmla="*/ 226695 h 407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60785" h="407039">
                <a:moveTo>
                  <a:pt x="129106" y="108006"/>
                </a:moveTo>
                <a:cubicBezTo>
                  <a:pt x="124758" y="104213"/>
                  <a:pt x="120225" y="100698"/>
                  <a:pt x="115507" y="97553"/>
                </a:cubicBezTo>
                <a:cubicBezTo>
                  <a:pt x="82667" y="75258"/>
                  <a:pt x="41963" y="68135"/>
                  <a:pt x="6717" y="67857"/>
                </a:cubicBezTo>
                <a:cubicBezTo>
                  <a:pt x="14857" y="96998"/>
                  <a:pt x="28734" y="128636"/>
                  <a:pt x="51491" y="153428"/>
                </a:cubicBezTo>
                <a:cubicBezTo>
                  <a:pt x="59077" y="161662"/>
                  <a:pt x="67588" y="169247"/>
                  <a:pt x="77209" y="175630"/>
                </a:cubicBezTo>
                <a:cubicBezTo>
                  <a:pt x="41778" y="196260"/>
                  <a:pt x="21148" y="218925"/>
                  <a:pt x="10880" y="241127"/>
                </a:cubicBezTo>
                <a:cubicBezTo>
                  <a:pt x="28179" y="258519"/>
                  <a:pt x="55284" y="272672"/>
                  <a:pt x="95618" y="279981"/>
                </a:cubicBezTo>
                <a:cubicBezTo>
                  <a:pt x="88772" y="289324"/>
                  <a:pt x="83314" y="299315"/>
                  <a:pt x="78966" y="309676"/>
                </a:cubicBezTo>
                <a:cubicBezTo>
                  <a:pt x="66108" y="340759"/>
                  <a:pt x="63795" y="375357"/>
                  <a:pt x="66200" y="405423"/>
                </a:cubicBezTo>
                <a:cubicBezTo>
                  <a:pt x="94508" y="394784"/>
                  <a:pt x="124851" y="378133"/>
                  <a:pt x="147608" y="353340"/>
                </a:cubicBezTo>
                <a:cubicBezTo>
                  <a:pt x="155194" y="345107"/>
                  <a:pt x="161947" y="335856"/>
                  <a:pt x="167497" y="325773"/>
                </a:cubicBezTo>
                <a:cubicBezTo>
                  <a:pt x="261301" y="458430"/>
                  <a:pt x="365467" y="358428"/>
                  <a:pt x="362414" y="302183"/>
                </a:cubicBezTo>
                <a:cubicBezTo>
                  <a:pt x="360194" y="260831"/>
                  <a:pt x="330591" y="210691"/>
                  <a:pt x="285909" y="208009"/>
                </a:cubicBezTo>
                <a:cubicBezTo>
                  <a:pt x="252513" y="205973"/>
                  <a:pt x="227721" y="249175"/>
                  <a:pt x="258526" y="267307"/>
                </a:cubicBezTo>
                <a:cubicBezTo>
                  <a:pt x="371387" y="333821"/>
                  <a:pt x="175731" y="373785"/>
                  <a:pt x="208294" y="233079"/>
                </a:cubicBezTo>
                <a:cubicBezTo>
                  <a:pt x="210699" y="222718"/>
                  <a:pt x="215510" y="212819"/>
                  <a:pt x="222078" y="203846"/>
                </a:cubicBezTo>
                <a:cubicBezTo>
                  <a:pt x="212827" y="197648"/>
                  <a:pt x="204871" y="189969"/>
                  <a:pt x="199135" y="181089"/>
                </a:cubicBezTo>
                <a:cubicBezTo>
                  <a:pt x="120410" y="59994"/>
                  <a:pt x="317917" y="30669"/>
                  <a:pt x="234659" y="131781"/>
                </a:cubicBezTo>
                <a:cubicBezTo>
                  <a:pt x="211902" y="159349"/>
                  <a:pt x="250015" y="191449"/>
                  <a:pt x="280728" y="178128"/>
                </a:cubicBezTo>
                <a:cubicBezTo>
                  <a:pt x="321710" y="160366"/>
                  <a:pt x="332441" y="103196"/>
                  <a:pt x="320415" y="63510"/>
                </a:cubicBezTo>
                <a:cubicBezTo>
                  <a:pt x="303948" y="9669"/>
                  <a:pt x="171938" y="-48704"/>
                  <a:pt x="129106" y="108006"/>
                </a:cubicBezTo>
                <a:close/>
                <a:moveTo>
                  <a:pt x="93120" y="226695"/>
                </a:moveTo>
                <a:cubicBezTo>
                  <a:pt x="104591" y="219665"/>
                  <a:pt x="120040" y="215964"/>
                  <a:pt x="140115" y="218370"/>
                </a:cubicBezTo>
                <a:cubicBezTo>
                  <a:pt x="122168" y="227528"/>
                  <a:pt x="106349" y="229286"/>
                  <a:pt x="93120" y="22669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8" name="Freeform: Shape 547">
            <a:extLst>
              <a:ext uri="{FF2B5EF4-FFF2-40B4-BE49-F238E27FC236}">
                <a16:creationId xmlns="" xmlns:a16="http://schemas.microsoft.com/office/drawing/2014/main" id="{81F4931A-9D16-49B9-8554-829DAD821406}"/>
              </a:ext>
            </a:extLst>
          </p:cNvPr>
          <p:cNvSpPr/>
          <p:nvPr/>
        </p:nvSpPr>
        <p:spPr>
          <a:xfrm>
            <a:off x="1480273" y="2054625"/>
            <a:ext cx="120262" cy="37004"/>
          </a:xfrm>
          <a:custGeom>
            <a:avLst/>
            <a:gdLst>
              <a:gd name="connsiteX0" fmla="*/ 6717 w 120261"/>
              <a:gd name="connsiteY0" fmla="*/ 6717 h 37003"/>
              <a:gd name="connsiteX1" fmla="*/ 6717 w 120261"/>
              <a:gd name="connsiteY1" fmla="*/ 6717 h 37003"/>
              <a:gd name="connsiteX2" fmla="*/ 115507 w 120261"/>
              <a:gd name="connsiteY2" fmla="*/ 36412 h 37003"/>
              <a:gd name="connsiteX3" fmla="*/ 6717 w 120261"/>
              <a:gd name="connsiteY3" fmla="*/ 67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261" h="37003">
                <a:moveTo>
                  <a:pt x="6717" y="6717"/>
                </a:moveTo>
                <a:cubicBezTo>
                  <a:pt x="6717" y="6717"/>
                  <a:pt x="6717" y="6809"/>
                  <a:pt x="6717" y="6717"/>
                </a:cubicBezTo>
                <a:cubicBezTo>
                  <a:pt x="41963" y="7087"/>
                  <a:pt x="82667" y="14210"/>
                  <a:pt x="115507" y="36412"/>
                </a:cubicBezTo>
                <a:cubicBezTo>
                  <a:pt x="82667" y="14210"/>
                  <a:pt x="41963" y="708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49" name="Freeform: Shape 548">
            <a:extLst>
              <a:ext uri="{FF2B5EF4-FFF2-40B4-BE49-F238E27FC236}">
                <a16:creationId xmlns="" xmlns:a16="http://schemas.microsoft.com/office/drawing/2014/main" id="{A0B0FCA3-1C8B-4FBF-A582-53B26AAB9EF5}"/>
              </a:ext>
            </a:extLst>
          </p:cNvPr>
          <p:cNvSpPr/>
          <p:nvPr/>
        </p:nvSpPr>
        <p:spPr>
          <a:xfrm>
            <a:off x="1539008" y="2296536"/>
            <a:ext cx="18502" cy="101760"/>
          </a:xfrm>
          <a:custGeom>
            <a:avLst/>
            <a:gdLst>
              <a:gd name="connsiteX0" fmla="*/ 20324 w 18501"/>
              <a:gd name="connsiteY0" fmla="*/ 6717 h 101759"/>
              <a:gd name="connsiteX1" fmla="*/ 7557 w 18501"/>
              <a:gd name="connsiteY1" fmla="*/ 102464 h 101759"/>
              <a:gd name="connsiteX2" fmla="*/ 7557 w 18501"/>
              <a:gd name="connsiteY2" fmla="*/ 102464 h 101759"/>
              <a:gd name="connsiteX3" fmla="*/ 20324 w 18501"/>
              <a:gd name="connsiteY3" fmla="*/ 6717 h 101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101759">
                <a:moveTo>
                  <a:pt x="20324" y="6717"/>
                </a:moveTo>
                <a:cubicBezTo>
                  <a:pt x="7465" y="37800"/>
                  <a:pt x="5152" y="72398"/>
                  <a:pt x="7557" y="102464"/>
                </a:cubicBezTo>
                <a:cubicBezTo>
                  <a:pt x="7557" y="102464"/>
                  <a:pt x="7557" y="102464"/>
                  <a:pt x="7557" y="102464"/>
                </a:cubicBezTo>
                <a:cubicBezTo>
                  <a:pt x="5152" y="72398"/>
                  <a:pt x="7465" y="37800"/>
                  <a:pt x="20324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0" name="Freeform: Shape 549">
            <a:extLst>
              <a:ext uri="{FF2B5EF4-FFF2-40B4-BE49-F238E27FC236}">
                <a16:creationId xmlns="" xmlns:a16="http://schemas.microsoft.com/office/drawing/2014/main" id="{8877BC53-E812-4BD9-AD78-02E89D743487}"/>
              </a:ext>
            </a:extLst>
          </p:cNvPr>
          <p:cNvSpPr/>
          <p:nvPr/>
        </p:nvSpPr>
        <p:spPr>
          <a:xfrm>
            <a:off x="1241507" y="3112558"/>
            <a:ext cx="425541" cy="444043"/>
          </a:xfrm>
          <a:custGeom>
            <a:avLst/>
            <a:gdLst>
              <a:gd name="connsiteX0" fmla="*/ 245945 w 425541"/>
              <a:gd name="connsiteY0" fmla="*/ 116247 h 444043"/>
              <a:gd name="connsiteX1" fmla="*/ 242337 w 425541"/>
              <a:gd name="connsiteY1" fmla="*/ 99503 h 444043"/>
              <a:gd name="connsiteX2" fmla="*/ 236787 w 425541"/>
              <a:gd name="connsiteY2" fmla="*/ 83499 h 444043"/>
              <a:gd name="connsiteX3" fmla="*/ 178136 w 425541"/>
              <a:gd name="connsiteY3" fmla="*/ 6717 h 444043"/>
              <a:gd name="connsiteX4" fmla="*/ 157969 w 425541"/>
              <a:gd name="connsiteY4" fmla="*/ 109494 h 444043"/>
              <a:gd name="connsiteX5" fmla="*/ 162872 w 425541"/>
              <a:gd name="connsiteY5" fmla="*/ 134657 h 444043"/>
              <a:gd name="connsiteX6" fmla="*/ 69900 w 425541"/>
              <a:gd name="connsiteY6" fmla="*/ 142242 h 444043"/>
              <a:gd name="connsiteX7" fmla="*/ 109864 w 425541"/>
              <a:gd name="connsiteY7" fmla="*/ 226518 h 444043"/>
              <a:gd name="connsiteX8" fmla="*/ 101538 w 425541"/>
              <a:gd name="connsiteY8" fmla="*/ 228831 h 444043"/>
              <a:gd name="connsiteX9" fmla="*/ 78041 w 425541"/>
              <a:gd name="connsiteY9" fmla="*/ 238544 h 444043"/>
              <a:gd name="connsiteX10" fmla="*/ 6717 w 425541"/>
              <a:gd name="connsiteY10" fmla="*/ 303671 h 444043"/>
              <a:gd name="connsiteX11" fmla="*/ 110882 w 425541"/>
              <a:gd name="connsiteY11" fmla="*/ 314772 h 444043"/>
              <a:gd name="connsiteX12" fmla="*/ 135489 w 425541"/>
              <a:gd name="connsiteY12" fmla="*/ 307741 h 444043"/>
              <a:gd name="connsiteX13" fmla="*/ 299970 w 425541"/>
              <a:gd name="connsiteY13" fmla="*/ 414959 h 444043"/>
              <a:gd name="connsiteX14" fmla="*/ 301913 w 425541"/>
              <a:gd name="connsiteY14" fmla="*/ 293680 h 444043"/>
              <a:gd name="connsiteX15" fmla="*/ 242800 w 425541"/>
              <a:gd name="connsiteY15" fmla="*/ 321525 h 444043"/>
              <a:gd name="connsiteX16" fmla="*/ 226333 w 425541"/>
              <a:gd name="connsiteY16" fmla="*/ 263059 h 444043"/>
              <a:gd name="connsiteX17" fmla="*/ 255751 w 425541"/>
              <a:gd name="connsiteY17" fmla="*/ 249553 h 444043"/>
              <a:gd name="connsiteX18" fmla="*/ 252791 w 425541"/>
              <a:gd name="connsiteY18" fmla="*/ 217360 h 444043"/>
              <a:gd name="connsiteX19" fmla="*/ 311719 w 425541"/>
              <a:gd name="connsiteY19" fmla="*/ 202373 h 444043"/>
              <a:gd name="connsiteX20" fmla="*/ 317177 w 425541"/>
              <a:gd name="connsiteY20" fmla="*/ 267500 h 444043"/>
              <a:gd name="connsiteX21" fmla="*/ 421250 w 425541"/>
              <a:gd name="connsiteY21" fmla="*/ 205149 h 444043"/>
              <a:gd name="connsiteX22" fmla="*/ 245945 w 425541"/>
              <a:gd name="connsiteY22" fmla="*/ 116247 h 444043"/>
              <a:gd name="connsiteX23" fmla="*/ 142150 w 425541"/>
              <a:gd name="connsiteY23" fmla="*/ 183964 h 444043"/>
              <a:gd name="connsiteX24" fmla="*/ 183501 w 425541"/>
              <a:gd name="connsiteY24" fmla="*/ 207831 h 444043"/>
              <a:gd name="connsiteX25" fmla="*/ 142150 w 425541"/>
              <a:gd name="connsiteY25" fmla="*/ 183964 h 444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5541" h="444043">
                <a:moveTo>
                  <a:pt x="245945" y="116247"/>
                </a:moveTo>
                <a:cubicBezTo>
                  <a:pt x="245113" y="110512"/>
                  <a:pt x="243817" y="104961"/>
                  <a:pt x="242337" y="99503"/>
                </a:cubicBezTo>
                <a:cubicBezTo>
                  <a:pt x="240857" y="94045"/>
                  <a:pt x="238914" y="88680"/>
                  <a:pt x="236787" y="83499"/>
                </a:cubicBezTo>
                <a:cubicBezTo>
                  <a:pt x="223928" y="52416"/>
                  <a:pt x="201078" y="26421"/>
                  <a:pt x="178136" y="6717"/>
                </a:cubicBezTo>
                <a:cubicBezTo>
                  <a:pt x="164537" y="36505"/>
                  <a:pt x="154361" y="73046"/>
                  <a:pt x="157969" y="109494"/>
                </a:cubicBezTo>
                <a:cubicBezTo>
                  <a:pt x="158802" y="117913"/>
                  <a:pt x="160374" y="126331"/>
                  <a:pt x="162872" y="134657"/>
                </a:cubicBezTo>
                <a:cubicBezTo>
                  <a:pt x="122446" y="127719"/>
                  <a:pt x="92103" y="131696"/>
                  <a:pt x="69900" y="142242"/>
                </a:cubicBezTo>
                <a:cubicBezTo>
                  <a:pt x="71936" y="166665"/>
                  <a:pt x="83684" y="194973"/>
                  <a:pt x="109864" y="226518"/>
                </a:cubicBezTo>
                <a:cubicBezTo>
                  <a:pt x="107089" y="227166"/>
                  <a:pt x="104314" y="227998"/>
                  <a:pt x="101538" y="228831"/>
                </a:cubicBezTo>
                <a:cubicBezTo>
                  <a:pt x="93305" y="231421"/>
                  <a:pt x="85534" y="234659"/>
                  <a:pt x="78041" y="238544"/>
                </a:cubicBezTo>
                <a:cubicBezTo>
                  <a:pt x="48161" y="254086"/>
                  <a:pt x="24294" y="279063"/>
                  <a:pt x="6717" y="303671"/>
                </a:cubicBezTo>
                <a:cubicBezTo>
                  <a:pt x="37615" y="314587"/>
                  <a:pt x="74896" y="321617"/>
                  <a:pt x="110882" y="314772"/>
                </a:cubicBezTo>
                <a:cubicBezTo>
                  <a:pt x="119208" y="313199"/>
                  <a:pt x="127441" y="310886"/>
                  <a:pt x="135489" y="307741"/>
                </a:cubicBezTo>
                <a:cubicBezTo>
                  <a:pt x="122075" y="469632"/>
                  <a:pt x="266112" y="459919"/>
                  <a:pt x="299970" y="414959"/>
                </a:cubicBezTo>
                <a:cubicBezTo>
                  <a:pt x="324855" y="381841"/>
                  <a:pt x="334384" y="324393"/>
                  <a:pt x="301913" y="293680"/>
                </a:cubicBezTo>
                <a:cubicBezTo>
                  <a:pt x="277676" y="270645"/>
                  <a:pt x="230866" y="287852"/>
                  <a:pt x="242800" y="321525"/>
                </a:cubicBezTo>
                <a:cubicBezTo>
                  <a:pt x="286557" y="445024"/>
                  <a:pt x="110882" y="349833"/>
                  <a:pt x="226333" y="263059"/>
                </a:cubicBezTo>
                <a:cubicBezTo>
                  <a:pt x="234844" y="256676"/>
                  <a:pt x="244927" y="252143"/>
                  <a:pt x="255751" y="249553"/>
                </a:cubicBezTo>
                <a:cubicBezTo>
                  <a:pt x="252606" y="238914"/>
                  <a:pt x="251496" y="227906"/>
                  <a:pt x="252791" y="217360"/>
                </a:cubicBezTo>
                <a:cubicBezTo>
                  <a:pt x="270275" y="73971"/>
                  <a:pt x="440492" y="178506"/>
                  <a:pt x="311719" y="202373"/>
                </a:cubicBezTo>
                <a:cubicBezTo>
                  <a:pt x="276566" y="208942"/>
                  <a:pt x="285169" y="257971"/>
                  <a:pt x="317177" y="267500"/>
                </a:cubicBezTo>
                <a:cubicBezTo>
                  <a:pt x="360009" y="280266"/>
                  <a:pt x="404968" y="243355"/>
                  <a:pt x="421250" y="205149"/>
                </a:cubicBezTo>
                <a:cubicBezTo>
                  <a:pt x="443082" y="153251"/>
                  <a:pt x="379436" y="23646"/>
                  <a:pt x="245945" y="116247"/>
                </a:cubicBezTo>
                <a:close/>
                <a:moveTo>
                  <a:pt x="142150" y="183964"/>
                </a:moveTo>
                <a:cubicBezTo>
                  <a:pt x="155471" y="185999"/>
                  <a:pt x="169718" y="193030"/>
                  <a:pt x="183501" y="207831"/>
                </a:cubicBezTo>
                <a:cubicBezTo>
                  <a:pt x="163797" y="203206"/>
                  <a:pt x="150476" y="194510"/>
                  <a:pt x="142150" y="18396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1" name="Freeform: Shape 550">
            <a:extLst>
              <a:ext uri="{FF2B5EF4-FFF2-40B4-BE49-F238E27FC236}">
                <a16:creationId xmlns="" xmlns:a16="http://schemas.microsoft.com/office/drawing/2014/main" id="{DC2F865A-17BB-4B71-B736-FD1D2FCC813C}"/>
              </a:ext>
            </a:extLst>
          </p:cNvPr>
          <p:cNvSpPr/>
          <p:nvPr/>
        </p:nvSpPr>
        <p:spPr>
          <a:xfrm>
            <a:off x="1312739" y="3334672"/>
            <a:ext cx="27753" cy="18502"/>
          </a:xfrm>
          <a:custGeom>
            <a:avLst/>
            <a:gdLst>
              <a:gd name="connsiteX0" fmla="*/ 6717 w 27752"/>
              <a:gd name="connsiteY0" fmla="*/ 16430 h 18501"/>
              <a:gd name="connsiteX1" fmla="*/ 30214 w 27752"/>
              <a:gd name="connsiteY1" fmla="*/ 6717 h 18501"/>
              <a:gd name="connsiteX2" fmla="*/ 6717 w 27752"/>
              <a:gd name="connsiteY2" fmla="*/ 1643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18501">
                <a:moveTo>
                  <a:pt x="6717" y="16430"/>
                </a:moveTo>
                <a:cubicBezTo>
                  <a:pt x="14210" y="12545"/>
                  <a:pt x="21981" y="9214"/>
                  <a:pt x="30214" y="6717"/>
                </a:cubicBezTo>
                <a:cubicBezTo>
                  <a:pt x="22073" y="9214"/>
                  <a:pt x="14210" y="12545"/>
                  <a:pt x="6717" y="1643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2" name="Freeform: Shape 551">
            <a:extLst>
              <a:ext uri="{FF2B5EF4-FFF2-40B4-BE49-F238E27FC236}">
                <a16:creationId xmlns="" xmlns:a16="http://schemas.microsoft.com/office/drawing/2014/main" id="{9654BE9B-8C63-4DE6-841B-46128BFFD450}"/>
              </a:ext>
            </a:extLst>
          </p:cNvPr>
          <p:cNvSpPr/>
          <p:nvPr/>
        </p:nvSpPr>
        <p:spPr>
          <a:xfrm>
            <a:off x="1241415" y="3344385"/>
            <a:ext cx="83258" cy="74007"/>
          </a:xfrm>
          <a:custGeom>
            <a:avLst/>
            <a:gdLst>
              <a:gd name="connsiteX0" fmla="*/ 78041 w 83258"/>
              <a:gd name="connsiteY0" fmla="*/ 6717 h 74007"/>
              <a:gd name="connsiteX1" fmla="*/ 6717 w 83258"/>
              <a:gd name="connsiteY1" fmla="*/ 71843 h 74007"/>
              <a:gd name="connsiteX2" fmla="*/ 6717 w 83258"/>
              <a:gd name="connsiteY2" fmla="*/ 71843 h 74007"/>
              <a:gd name="connsiteX3" fmla="*/ 78041 w 83258"/>
              <a:gd name="connsiteY3" fmla="*/ 6717 h 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58" h="74007">
                <a:moveTo>
                  <a:pt x="78041" y="6717"/>
                </a:moveTo>
                <a:cubicBezTo>
                  <a:pt x="48161" y="22258"/>
                  <a:pt x="24201" y="47236"/>
                  <a:pt x="6717" y="71843"/>
                </a:cubicBezTo>
                <a:cubicBezTo>
                  <a:pt x="6717" y="71843"/>
                  <a:pt x="6717" y="71843"/>
                  <a:pt x="6717" y="71843"/>
                </a:cubicBezTo>
                <a:cubicBezTo>
                  <a:pt x="24294" y="47236"/>
                  <a:pt x="48253" y="22258"/>
                  <a:pt x="78041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3" name="Freeform: Shape 552">
            <a:extLst>
              <a:ext uri="{FF2B5EF4-FFF2-40B4-BE49-F238E27FC236}">
                <a16:creationId xmlns="" xmlns:a16="http://schemas.microsoft.com/office/drawing/2014/main" id="{483D22C8-2DEB-438B-B1F5-25EF3C4B79CE}"/>
              </a:ext>
            </a:extLst>
          </p:cNvPr>
          <p:cNvSpPr/>
          <p:nvPr/>
        </p:nvSpPr>
        <p:spPr>
          <a:xfrm>
            <a:off x="1412834" y="3112558"/>
            <a:ext cx="64756" cy="83258"/>
          </a:xfrm>
          <a:custGeom>
            <a:avLst/>
            <a:gdLst>
              <a:gd name="connsiteX0" fmla="*/ 65367 w 64756"/>
              <a:gd name="connsiteY0" fmla="*/ 83499 h 83258"/>
              <a:gd name="connsiteX1" fmla="*/ 6717 w 64756"/>
              <a:gd name="connsiteY1" fmla="*/ 6717 h 83258"/>
              <a:gd name="connsiteX2" fmla="*/ 6717 w 64756"/>
              <a:gd name="connsiteY2" fmla="*/ 6717 h 83258"/>
              <a:gd name="connsiteX3" fmla="*/ 65367 w 64756"/>
              <a:gd name="connsiteY3" fmla="*/ 83499 h 8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83258">
                <a:moveTo>
                  <a:pt x="65367" y="83499"/>
                </a:moveTo>
                <a:cubicBezTo>
                  <a:pt x="52509" y="52416"/>
                  <a:pt x="29659" y="26329"/>
                  <a:pt x="6717" y="6717"/>
                </a:cubicBezTo>
                <a:cubicBezTo>
                  <a:pt x="6717" y="6717"/>
                  <a:pt x="6717" y="6717"/>
                  <a:pt x="6717" y="6717"/>
                </a:cubicBezTo>
                <a:cubicBezTo>
                  <a:pt x="29659" y="26421"/>
                  <a:pt x="52509" y="52416"/>
                  <a:pt x="65367" y="8349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4" name="Freeform: Shape 553">
            <a:extLst>
              <a:ext uri="{FF2B5EF4-FFF2-40B4-BE49-F238E27FC236}">
                <a16:creationId xmlns="" xmlns:a16="http://schemas.microsoft.com/office/drawing/2014/main" id="{7964E80E-E650-41B8-9236-DB38C657EDD9}"/>
              </a:ext>
            </a:extLst>
          </p:cNvPr>
          <p:cNvSpPr/>
          <p:nvPr/>
        </p:nvSpPr>
        <p:spPr>
          <a:xfrm>
            <a:off x="1471485" y="3189340"/>
            <a:ext cx="18502" cy="27753"/>
          </a:xfrm>
          <a:custGeom>
            <a:avLst/>
            <a:gdLst>
              <a:gd name="connsiteX0" fmla="*/ 6717 w 18501"/>
              <a:gd name="connsiteY0" fmla="*/ 6717 h 27752"/>
              <a:gd name="connsiteX1" fmla="*/ 12267 w 18501"/>
              <a:gd name="connsiteY1" fmla="*/ 22721 h 27752"/>
              <a:gd name="connsiteX2" fmla="*/ 6717 w 18501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27752">
                <a:moveTo>
                  <a:pt x="6717" y="6717"/>
                </a:moveTo>
                <a:cubicBezTo>
                  <a:pt x="8845" y="11897"/>
                  <a:pt x="10695" y="17263"/>
                  <a:pt x="12267" y="22721"/>
                </a:cubicBezTo>
                <a:cubicBezTo>
                  <a:pt x="10787" y="17263"/>
                  <a:pt x="8937" y="1189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5" name="Freeform: Shape 554">
            <a:extLst>
              <a:ext uri="{FF2B5EF4-FFF2-40B4-BE49-F238E27FC236}">
                <a16:creationId xmlns="" xmlns:a16="http://schemas.microsoft.com/office/drawing/2014/main" id="{E00EC00F-2C81-4CD5-93D0-38B3A56ADCF3}"/>
              </a:ext>
            </a:extLst>
          </p:cNvPr>
          <p:cNvSpPr/>
          <p:nvPr/>
        </p:nvSpPr>
        <p:spPr>
          <a:xfrm>
            <a:off x="358971" y="3879642"/>
            <a:ext cx="434792" cy="397789"/>
          </a:xfrm>
          <a:custGeom>
            <a:avLst/>
            <a:gdLst>
              <a:gd name="connsiteX0" fmla="*/ 310516 w 434792"/>
              <a:gd name="connsiteY0" fmla="*/ 134194 h 397788"/>
              <a:gd name="connsiteX1" fmla="*/ 324485 w 434792"/>
              <a:gd name="connsiteY1" fmla="*/ 103204 h 397788"/>
              <a:gd name="connsiteX2" fmla="*/ 328833 w 434792"/>
              <a:gd name="connsiteY2" fmla="*/ 6717 h 397788"/>
              <a:gd name="connsiteX3" fmla="*/ 242800 w 434792"/>
              <a:gd name="connsiteY3" fmla="*/ 79614 h 397788"/>
              <a:gd name="connsiteX4" fmla="*/ 234936 w 434792"/>
              <a:gd name="connsiteY4" fmla="*/ 94878 h 397788"/>
              <a:gd name="connsiteX5" fmla="*/ 158894 w 434792"/>
              <a:gd name="connsiteY5" fmla="*/ 40945 h 397788"/>
              <a:gd name="connsiteX6" fmla="*/ 135304 w 434792"/>
              <a:gd name="connsiteY6" fmla="*/ 131141 h 397788"/>
              <a:gd name="connsiteX7" fmla="*/ 103204 w 434792"/>
              <a:gd name="connsiteY7" fmla="*/ 119948 h 397788"/>
              <a:gd name="connsiteX8" fmla="*/ 6717 w 434792"/>
              <a:gd name="connsiteY8" fmla="*/ 124018 h 397788"/>
              <a:gd name="connsiteX9" fmla="*/ 86830 w 434792"/>
              <a:gd name="connsiteY9" fmla="*/ 203391 h 397788"/>
              <a:gd name="connsiteX10" fmla="*/ 102741 w 434792"/>
              <a:gd name="connsiteY10" fmla="*/ 209866 h 397788"/>
              <a:gd name="connsiteX11" fmla="*/ 159819 w 434792"/>
              <a:gd name="connsiteY11" fmla="*/ 397660 h 397788"/>
              <a:gd name="connsiteX12" fmla="*/ 239284 w 434792"/>
              <a:gd name="connsiteY12" fmla="*/ 305983 h 397788"/>
              <a:gd name="connsiteX13" fmla="*/ 176101 w 434792"/>
              <a:gd name="connsiteY13" fmla="*/ 289332 h 397788"/>
              <a:gd name="connsiteX14" fmla="*/ 201078 w 434792"/>
              <a:gd name="connsiteY14" fmla="*/ 233919 h 397788"/>
              <a:gd name="connsiteX15" fmla="*/ 232254 w 434792"/>
              <a:gd name="connsiteY15" fmla="*/ 242429 h 397788"/>
              <a:gd name="connsiteX16" fmla="*/ 250663 w 434792"/>
              <a:gd name="connsiteY16" fmla="*/ 215879 h 397788"/>
              <a:gd name="connsiteX17" fmla="*/ 305428 w 434792"/>
              <a:gd name="connsiteY17" fmla="*/ 242245 h 397788"/>
              <a:gd name="connsiteX18" fmla="*/ 267777 w 434792"/>
              <a:gd name="connsiteY18" fmla="*/ 295622 h 397788"/>
              <a:gd name="connsiteX19" fmla="*/ 387576 w 434792"/>
              <a:gd name="connsiteY19" fmla="*/ 314772 h 397788"/>
              <a:gd name="connsiteX20" fmla="*/ 310516 w 434792"/>
              <a:gd name="connsiteY20" fmla="*/ 134194 h 397788"/>
              <a:gd name="connsiteX21" fmla="*/ 187479 w 434792"/>
              <a:gd name="connsiteY21" fmla="*/ 119393 h 397788"/>
              <a:gd name="connsiteX22" fmla="*/ 203761 w 434792"/>
              <a:gd name="connsiteY22" fmla="*/ 164260 h 397788"/>
              <a:gd name="connsiteX23" fmla="*/ 187479 w 434792"/>
              <a:gd name="connsiteY23" fmla="*/ 119393 h 39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34792" h="397788">
                <a:moveTo>
                  <a:pt x="310516" y="134194"/>
                </a:moveTo>
                <a:cubicBezTo>
                  <a:pt x="316529" y="124296"/>
                  <a:pt x="321155" y="113935"/>
                  <a:pt x="324485" y="103204"/>
                </a:cubicBezTo>
                <a:cubicBezTo>
                  <a:pt x="334569" y="71103"/>
                  <a:pt x="333829" y="36505"/>
                  <a:pt x="328833" y="6717"/>
                </a:cubicBezTo>
                <a:cubicBezTo>
                  <a:pt x="297010" y="21888"/>
                  <a:pt x="263152" y="45570"/>
                  <a:pt x="242800" y="79614"/>
                </a:cubicBezTo>
                <a:cubicBezTo>
                  <a:pt x="239932" y="84517"/>
                  <a:pt x="237249" y="89605"/>
                  <a:pt x="234936" y="94878"/>
                </a:cubicBezTo>
                <a:cubicBezTo>
                  <a:pt x="208479" y="63610"/>
                  <a:pt x="182576" y="47143"/>
                  <a:pt x="158894" y="40945"/>
                </a:cubicBezTo>
                <a:cubicBezTo>
                  <a:pt x="144740" y="61019"/>
                  <a:pt x="135489" y="90160"/>
                  <a:pt x="135304" y="131141"/>
                </a:cubicBezTo>
                <a:cubicBezTo>
                  <a:pt x="124943" y="125961"/>
                  <a:pt x="114120" y="122353"/>
                  <a:pt x="103204" y="119948"/>
                </a:cubicBezTo>
                <a:cubicBezTo>
                  <a:pt x="70363" y="112639"/>
                  <a:pt x="35950" y="116432"/>
                  <a:pt x="6717" y="124018"/>
                </a:cubicBezTo>
                <a:cubicBezTo>
                  <a:pt x="24664" y="154361"/>
                  <a:pt x="51121" y="186092"/>
                  <a:pt x="86830" y="203391"/>
                </a:cubicBezTo>
                <a:cubicBezTo>
                  <a:pt x="91918" y="205889"/>
                  <a:pt x="97191" y="208016"/>
                  <a:pt x="102741" y="209866"/>
                </a:cubicBezTo>
                <a:cubicBezTo>
                  <a:pt x="-11600" y="325225"/>
                  <a:pt x="104961" y="410426"/>
                  <a:pt x="159819" y="397660"/>
                </a:cubicBezTo>
                <a:cubicBezTo>
                  <a:pt x="200153" y="388224"/>
                  <a:pt x="244372" y="350388"/>
                  <a:pt x="239284" y="305983"/>
                </a:cubicBezTo>
                <a:cubicBezTo>
                  <a:pt x="235492" y="272773"/>
                  <a:pt x="188589" y="255843"/>
                  <a:pt x="176101" y="289332"/>
                </a:cubicBezTo>
                <a:cubicBezTo>
                  <a:pt x="130216" y="411999"/>
                  <a:pt x="56857" y="226240"/>
                  <a:pt x="201078" y="233919"/>
                </a:cubicBezTo>
                <a:cubicBezTo>
                  <a:pt x="211717" y="234474"/>
                  <a:pt x="222355" y="237527"/>
                  <a:pt x="232254" y="242429"/>
                </a:cubicBezTo>
                <a:cubicBezTo>
                  <a:pt x="236694" y="232254"/>
                  <a:pt x="242892" y="223095"/>
                  <a:pt x="250663" y="215879"/>
                </a:cubicBezTo>
                <a:cubicBezTo>
                  <a:pt x="356216" y="117357"/>
                  <a:pt x="419399" y="306816"/>
                  <a:pt x="305428" y="242245"/>
                </a:cubicBezTo>
                <a:cubicBezTo>
                  <a:pt x="274345" y="224668"/>
                  <a:pt x="249368" y="267777"/>
                  <a:pt x="267777" y="295622"/>
                </a:cubicBezTo>
                <a:cubicBezTo>
                  <a:pt x="292385" y="332904"/>
                  <a:pt x="350573" y="333551"/>
                  <a:pt x="387576" y="314772"/>
                </a:cubicBezTo>
                <a:cubicBezTo>
                  <a:pt x="437716" y="289332"/>
                  <a:pt x="472315" y="149088"/>
                  <a:pt x="310516" y="134194"/>
                </a:cubicBezTo>
                <a:close/>
                <a:moveTo>
                  <a:pt x="187479" y="119393"/>
                </a:moveTo>
                <a:cubicBezTo>
                  <a:pt x="196360" y="129476"/>
                  <a:pt x="202743" y="144093"/>
                  <a:pt x="203761" y="164260"/>
                </a:cubicBezTo>
                <a:cubicBezTo>
                  <a:pt x="191642" y="148070"/>
                  <a:pt x="187109" y="132807"/>
                  <a:pt x="187479" y="11939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6" name="Freeform: Shape 555">
            <a:extLst>
              <a:ext uri="{FF2B5EF4-FFF2-40B4-BE49-F238E27FC236}">
                <a16:creationId xmlns="" xmlns:a16="http://schemas.microsoft.com/office/drawing/2014/main" id="{F74A0B61-BC3F-490F-99A3-83EC0579906C}"/>
              </a:ext>
            </a:extLst>
          </p:cNvPr>
          <p:cNvSpPr/>
          <p:nvPr/>
        </p:nvSpPr>
        <p:spPr>
          <a:xfrm>
            <a:off x="676740" y="3879642"/>
            <a:ext cx="18502" cy="101760"/>
          </a:xfrm>
          <a:custGeom>
            <a:avLst/>
            <a:gdLst>
              <a:gd name="connsiteX0" fmla="*/ 6717 w 18501"/>
              <a:gd name="connsiteY0" fmla="*/ 103204 h 101759"/>
              <a:gd name="connsiteX1" fmla="*/ 11157 w 18501"/>
              <a:gd name="connsiteY1" fmla="*/ 6717 h 101759"/>
              <a:gd name="connsiteX2" fmla="*/ 11157 w 18501"/>
              <a:gd name="connsiteY2" fmla="*/ 6717 h 101759"/>
              <a:gd name="connsiteX3" fmla="*/ 6717 w 18501"/>
              <a:gd name="connsiteY3" fmla="*/ 103204 h 101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101759">
                <a:moveTo>
                  <a:pt x="6717" y="103204"/>
                </a:moveTo>
                <a:cubicBezTo>
                  <a:pt x="16800" y="71103"/>
                  <a:pt x="16060" y="36505"/>
                  <a:pt x="11157" y="6717"/>
                </a:cubicBezTo>
                <a:cubicBezTo>
                  <a:pt x="11157" y="6717"/>
                  <a:pt x="11157" y="6717"/>
                  <a:pt x="11157" y="6717"/>
                </a:cubicBezTo>
                <a:cubicBezTo>
                  <a:pt x="16060" y="36505"/>
                  <a:pt x="16800" y="71103"/>
                  <a:pt x="6717" y="10320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7" name="Freeform: Shape 556">
            <a:extLst>
              <a:ext uri="{FF2B5EF4-FFF2-40B4-BE49-F238E27FC236}">
                <a16:creationId xmlns="" xmlns:a16="http://schemas.microsoft.com/office/drawing/2014/main" id="{4A076302-AAEC-4C2D-91E5-E87E0F991123}"/>
              </a:ext>
            </a:extLst>
          </p:cNvPr>
          <p:cNvSpPr/>
          <p:nvPr/>
        </p:nvSpPr>
        <p:spPr>
          <a:xfrm>
            <a:off x="358879" y="3988945"/>
            <a:ext cx="101760" cy="18502"/>
          </a:xfrm>
          <a:custGeom>
            <a:avLst/>
            <a:gdLst>
              <a:gd name="connsiteX0" fmla="*/ 103296 w 101759"/>
              <a:gd name="connsiteY0" fmla="*/ 10646 h 18501"/>
              <a:gd name="connsiteX1" fmla="*/ 6717 w 101759"/>
              <a:gd name="connsiteY1" fmla="*/ 14623 h 18501"/>
              <a:gd name="connsiteX2" fmla="*/ 6717 w 101759"/>
              <a:gd name="connsiteY2" fmla="*/ 14623 h 18501"/>
              <a:gd name="connsiteX3" fmla="*/ 103296 w 101759"/>
              <a:gd name="connsiteY3" fmla="*/ 10646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59" h="18501">
                <a:moveTo>
                  <a:pt x="103296" y="10646"/>
                </a:moveTo>
                <a:cubicBezTo>
                  <a:pt x="70455" y="3337"/>
                  <a:pt x="36042" y="7130"/>
                  <a:pt x="6717" y="14623"/>
                </a:cubicBezTo>
                <a:cubicBezTo>
                  <a:pt x="6717" y="14623"/>
                  <a:pt x="6717" y="14623"/>
                  <a:pt x="6717" y="14623"/>
                </a:cubicBezTo>
                <a:cubicBezTo>
                  <a:pt x="36042" y="7130"/>
                  <a:pt x="70455" y="3337"/>
                  <a:pt x="103296" y="10646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8" name="Freeform: Shape 557">
            <a:extLst>
              <a:ext uri="{FF2B5EF4-FFF2-40B4-BE49-F238E27FC236}">
                <a16:creationId xmlns="" xmlns:a16="http://schemas.microsoft.com/office/drawing/2014/main" id="{EABA51DD-EE4C-4EE7-8993-EA500027B4D2}"/>
              </a:ext>
            </a:extLst>
          </p:cNvPr>
          <p:cNvSpPr/>
          <p:nvPr/>
        </p:nvSpPr>
        <p:spPr>
          <a:xfrm>
            <a:off x="-6717" y="640445"/>
            <a:ext cx="203520" cy="342283"/>
          </a:xfrm>
          <a:custGeom>
            <a:avLst/>
            <a:gdLst>
              <a:gd name="connsiteX0" fmla="*/ 59724 w 203519"/>
              <a:gd name="connsiteY0" fmla="*/ 266292 h 342283"/>
              <a:gd name="connsiteX1" fmla="*/ 72306 w 203519"/>
              <a:gd name="connsiteY1" fmla="*/ 277949 h 342283"/>
              <a:gd name="connsiteX2" fmla="*/ 178136 w 203519"/>
              <a:gd name="connsiteY2" fmla="*/ 317080 h 342283"/>
              <a:gd name="connsiteX3" fmla="*/ 129939 w 203519"/>
              <a:gd name="connsiteY3" fmla="*/ 215042 h 342283"/>
              <a:gd name="connsiteX4" fmla="*/ 117265 w 203519"/>
              <a:gd name="connsiteY4" fmla="*/ 203479 h 342283"/>
              <a:gd name="connsiteX5" fmla="*/ 127811 w 203519"/>
              <a:gd name="connsiteY5" fmla="*/ 7452 h 342283"/>
              <a:gd name="connsiteX6" fmla="*/ 21796 w 203519"/>
              <a:gd name="connsiteY6" fmla="*/ 66473 h 342283"/>
              <a:gd name="connsiteX7" fmla="*/ 75451 w 203519"/>
              <a:gd name="connsiteY7" fmla="*/ 103754 h 342283"/>
              <a:gd name="connsiteX8" fmla="*/ 33082 w 203519"/>
              <a:gd name="connsiteY8" fmla="*/ 147326 h 342283"/>
              <a:gd name="connsiteX9" fmla="*/ 6717 w 203519"/>
              <a:gd name="connsiteY9" fmla="*/ 128547 h 342283"/>
              <a:gd name="connsiteX10" fmla="*/ 6717 w 203519"/>
              <a:gd name="connsiteY10" fmla="*/ 211805 h 342283"/>
              <a:gd name="connsiteX11" fmla="*/ 6717 w 203519"/>
              <a:gd name="connsiteY11" fmla="*/ 259447 h 342283"/>
              <a:gd name="connsiteX12" fmla="*/ 6717 w 203519"/>
              <a:gd name="connsiteY12" fmla="*/ 342982 h 342283"/>
              <a:gd name="connsiteX13" fmla="*/ 59724 w 203519"/>
              <a:gd name="connsiteY13" fmla="*/ 266292 h 342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3519" h="342283">
                <a:moveTo>
                  <a:pt x="59724" y="266292"/>
                </a:moveTo>
                <a:cubicBezTo>
                  <a:pt x="63702" y="270455"/>
                  <a:pt x="67958" y="274341"/>
                  <a:pt x="72306" y="277949"/>
                </a:cubicBezTo>
                <a:cubicBezTo>
                  <a:pt x="103111" y="303019"/>
                  <a:pt x="142983" y="313657"/>
                  <a:pt x="178136" y="317080"/>
                </a:cubicBezTo>
                <a:cubicBezTo>
                  <a:pt x="171660" y="282389"/>
                  <a:pt x="157599" y="243535"/>
                  <a:pt x="129939" y="215042"/>
                </a:cubicBezTo>
                <a:cubicBezTo>
                  <a:pt x="125961" y="210972"/>
                  <a:pt x="121798" y="207087"/>
                  <a:pt x="117265" y="203479"/>
                </a:cubicBezTo>
                <a:cubicBezTo>
                  <a:pt x="264169" y="134097"/>
                  <a:pt x="183779" y="14205"/>
                  <a:pt x="127811" y="7452"/>
                </a:cubicBezTo>
                <a:cubicBezTo>
                  <a:pt x="86645" y="2457"/>
                  <a:pt x="32157" y="22994"/>
                  <a:pt x="21796" y="66473"/>
                </a:cubicBezTo>
                <a:cubicBezTo>
                  <a:pt x="14025" y="99036"/>
                  <a:pt x="52231" y="130952"/>
                  <a:pt x="75451" y="103754"/>
                </a:cubicBezTo>
                <a:cubicBezTo>
                  <a:pt x="160559" y="4122"/>
                  <a:pt x="165925" y="203849"/>
                  <a:pt x="33082" y="147326"/>
                </a:cubicBezTo>
                <a:cubicBezTo>
                  <a:pt x="23368" y="143070"/>
                  <a:pt x="14395" y="136595"/>
                  <a:pt x="6717" y="128547"/>
                </a:cubicBezTo>
                <a:lnTo>
                  <a:pt x="6717" y="211805"/>
                </a:lnTo>
                <a:cubicBezTo>
                  <a:pt x="12545" y="231139"/>
                  <a:pt x="11620" y="246958"/>
                  <a:pt x="6717" y="259447"/>
                </a:cubicBezTo>
                <a:lnTo>
                  <a:pt x="6717" y="342982"/>
                </a:lnTo>
                <a:cubicBezTo>
                  <a:pt x="26884" y="329014"/>
                  <a:pt x="45571" y="304684"/>
                  <a:pt x="59724" y="26629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9" name="Freeform: Shape 558">
            <a:extLst>
              <a:ext uri="{FF2B5EF4-FFF2-40B4-BE49-F238E27FC236}">
                <a16:creationId xmlns="" xmlns:a16="http://schemas.microsoft.com/office/drawing/2014/main" id="{C7438ADB-E8F7-48D7-A0E8-A9CCBCDE15D4}"/>
              </a:ext>
            </a:extLst>
          </p:cNvPr>
          <p:cNvSpPr/>
          <p:nvPr/>
        </p:nvSpPr>
        <p:spPr>
          <a:xfrm>
            <a:off x="58872" y="911676"/>
            <a:ext cx="111011" cy="46254"/>
          </a:xfrm>
          <a:custGeom>
            <a:avLst/>
            <a:gdLst>
              <a:gd name="connsiteX0" fmla="*/ 112547 w 111010"/>
              <a:gd name="connsiteY0" fmla="*/ 45848 h 46254"/>
              <a:gd name="connsiteX1" fmla="*/ 112547 w 111010"/>
              <a:gd name="connsiteY1" fmla="*/ 45848 h 46254"/>
              <a:gd name="connsiteX2" fmla="*/ 6717 w 111010"/>
              <a:gd name="connsiteY2" fmla="*/ 6717 h 46254"/>
              <a:gd name="connsiteX3" fmla="*/ 112547 w 111010"/>
              <a:gd name="connsiteY3" fmla="*/ 45848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010" h="46254">
                <a:moveTo>
                  <a:pt x="112547" y="45848"/>
                </a:moveTo>
                <a:cubicBezTo>
                  <a:pt x="112547" y="45848"/>
                  <a:pt x="112547" y="45848"/>
                  <a:pt x="112547" y="45848"/>
                </a:cubicBezTo>
                <a:cubicBezTo>
                  <a:pt x="77486" y="42425"/>
                  <a:pt x="37522" y="31787"/>
                  <a:pt x="6717" y="6717"/>
                </a:cubicBezTo>
                <a:cubicBezTo>
                  <a:pt x="37522" y="31787"/>
                  <a:pt x="77486" y="42425"/>
                  <a:pt x="112547" y="4584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0" name="Freeform: Shape 559">
            <a:extLst>
              <a:ext uri="{FF2B5EF4-FFF2-40B4-BE49-F238E27FC236}">
                <a16:creationId xmlns="" xmlns:a16="http://schemas.microsoft.com/office/drawing/2014/main" id="{5C40E94C-6F8F-497D-9C43-314EDFC4691D}"/>
              </a:ext>
            </a:extLst>
          </p:cNvPr>
          <p:cNvSpPr/>
          <p:nvPr/>
        </p:nvSpPr>
        <p:spPr>
          <a:xfrm>
            <a:off x="-6532" y="1489673"/>
            <a:ext cx="1008348" cy="1998194"/>
          </a:xfrm>
          <a:custGeom>
            <a:avLst/>
            <a:gdLst>
              <a:gd name="connsiteX0" fmla="*/ 95988 w 1008348"/>
              <a:gd name="connsiteY0" fmla="*/ 1587418 h 1998194"/>
              <a:gd name="connsiteX1" fmla="*/ 47698 w 1008348"/>
              <a:gd name="connsiteY1" fmla="*/ 1626364 h 1998194"/>
              <a:gd name="connsiteX2" fmla="*/ 68050 w 1008348"/>
              <a:gd name="connsiteY2" fmla="*/ 1646716 h 1998194"/>
              <a:gd name="connsiteX3" fmla="*/ 214955 w 1008348"/>
              <a:gd name="connsiteY3" fmla="*/ 1654395 h 1998194"/>
              <a:gd name="connsiteX4" fmla="*/ 217637 w 1008348"/>
              <a:gd name="connsiteY4" fmla="*/ 1781502 h 1998194"/>
              <a:gd name="connsiteX5" fmla="*/ 160837 w 1008348"/>
              <a:gd name="connsiteY5" fmla="*/ 1759947 h 1998194"/>
              <a:gd name="connsiteX6" fmla="*/ 193677 w 1008348"/>
              <a:gd name="connsiteY6" fmla="*/ 1703517 h 1998194"/>
              <a:gd name="connsiteX7" fmla="*/ 72676 w 1008348"/>
              <a:gd name="connsiteY7" fmla="*/ 1694821 h 1998194"/>
              <a:gd name="connsiteX8" fmla="*/ 165092 w 1008348"/>
              <a:gd name="connsiteY8" fmla="*/ 1867998 h 1998194"/>
              <a:gd name="connsiteX9" fmla="*/ 155934 w 1008348"/>
              <a:gd name="connsiteY9" fmla="*/ 1891958 h 1998194"/>
              <a:gd name="connsiteX10" fmla="*/ 151123 w 1008348"/>
              <a:gd name="connsiteY10" fmla="*/ 1916657 h 1998194"/>
              <a:gd name="connsiteX11" fmla="*/ 157876 w 1008348"/>
              <a:gd name="connsiteY11" fmla="*/ 1996678 h 1998194"/>
              <a:gd name="connsiteX12" fmla="*/ 229016 w 1008348"/>
              <a:gd name="connsiteY12" fmla="*/ 1931274 h 1998194"/>
              <a:gd name="connsiteX13" fmla="*/ 243817 w 1008348"/>
              <a:gd name="connsiteY13" fmla="*/ 1900654 h 1998194"/>
              <a:gd name="connsiteX14" fmla="*/ 348908 w 1008348"/>
              <a:gd name="connsiteY14" fmla="*/ 1948666 h 1998194"/>
              <a:gd name="connsiteX15" fmla="*/ 398492 w 1008348"/>
              <a:gd name="connsiteY15" fmla="*/ 1844408 h 1998194"/>
              <a:gd name="connsiteX16" fmla="*/ 413664 w 1008348"/>
              <a:gd name="connsiteY16" fmla="*/ 1852364 h 1998194"/>
              <a:gd name="connsiteX17" fmla="*/ 429483 w 1008348"/>
              <a:gd name="connsiteY17" fmla="*/ 1858377 h 1998194"/>
              <a:gd name="connsiteX18" fmla="*/ 525970 w 1008348"/>
              <a:gd name="connsiteY18" fmla="*/ 1862817 h 1998194"/>
              <a:gd name="connsiteX19" fmla="*/ 467042 w 1008348"/>
              <a:gd name="connsiteY19" fmla="*/ 1786312 h 1998194"/>
              <a:gd name="connsiteX20" fmla="*/ 437809 w 1008348"/>
              <a:gd name="connsiteY20" fmla="*/ 1768921 h 1998194"/>
              <a:gd name="connsiteX21" fmla="*/ 397290 w 1008348"/>
              <a:gd name="connsiteY21" fmla="*/ 1576872 h 1998194"/>
              <a:gd name="connsiteX22" fmla="*/ 310146 w 1008348"/>
              <a:gd name="connsiteY22" fmla="*/ 1661240 h 1998194"/>
              <a:gd name="connsiteX23" fmla="*/ 371665 w 1008348"/>
              <a:gd name="connsiteY23" fmla="*/ 1683350 h 1998194"/>
              <a:gd name="connsiteX24" fmla="*/ 341969 w 1008348"/>
              <a:gd name="connsiteY24" fmla="*/ 1736357 h 1998194"/>
              <a:gd name="connsiteX25" fmla="*/ 262319 w 1008348"/>
              <a:gd name="connsiteY25" fmla="*/ 1637280 h 1998194"/>
              <a:gd name="connsiteX26" fmla="*/ 369907 w 1008348"/>
              <a:gd name="connsiteY26" fmla="*/ 1536908 h 1998194"/>
              <a:gd name="connsiteX27" fmla="*/ 372405 w 1008348"/>
              <a:gd name="connsiteY27" fmla="*/ 1508230 h 1998194"/>
              <a:gd name="connsiteX28" fmla="*/ 310331 w 1008348"/>
              <a:gd name="connsiteY28" fmla="*/ 1509433 h 1998194"/>
              <a:gd name="connsiteX29" fmla="*/ 313754 w 1008348"/>
              <a:gd name="connsiteY29" fmla="*/ 1418774 h 1998194"/>
              <a:gd name="connsiteX30" fmla="*/ 383228 w 1008348"/>
              <a:gd name="connsiteY30" fmla="*/ 1457073 h 1998194"/>
              <a:gd name="connsiteX31" fmla="*/ 357511 w 1008348"/>
              <a:gd name="connsiteY31" fmla="*/ 1382048 h 1998194"/>
              <a:gd name="connsiteX32" fmla="*/ 447430 w 1008348"/>
              <a:gd name="connsiteY32" fmla="*/ 1394444 h 1998194"/>
              <a:gd name="connsiteX33" fmla="*/ 435496 w 1008348"/>
              <a:gd name="connsiteY33" fmla="*/ 1455315 h 1998194"/>
              <a:gd name="connsiteX34" fmla="*/ 464174 w 1008348"/>
              <a:gd name="connsiteY34" fmla="*/ 1457813 h 1998194"/>
              <a:gd name="connsiteX35" fmla="*/ 581660 w 1008348"/>
              <a:gd name="connsiteY35" fmla="*/ 1369282 h 1998194"/>
              <a:gd name="connsiteX36" fmla="*/ 665473 w 1008348"/>
              <a:gd name="connsiteY36" fmla="*/ 1464936 h 1998194"/>
              <a:gd name="connsiteX37" fmla="*/ 608118 w 1008348"/>
              <a:gd name="connsiteY37" fmla="*/ 1485010 h 1998194"/>
              <a:gd name="connsiteX38" fmla="*/ 597017 w 1008348"/>
              <a:gd name="connsiteY38" fmla="*/ 1420624 h 1998194"/>
              <a:gd name="connsiteX39" fmla="*/ 498772 w 1008348"/>
              <a:gd name="connsiteY39" fmla="*/ 1491764 h 1998194"/>
              <a:gd name="connsiteX40" fmla="*/ 680922 w 1008348"/>
              <a:gd name="connsiteY40" fmla="*/ 1565031 h 1998194"/>
              <a:gd name="connsiteX41" fmla="*/ 686010 w 1008348"/>
              <a:gd name="connsiteY41" fmla="*/ 1581405 h 1998194"/>
              <a:gd name="connsiteX42" fmla="*/ 697019 w 1008348"/>
              <a:gd name="connsiteY42" fmla="*/ 1604162 h 1998194"/>
              <a:gd name="connsiteX43" fmla="*/ 758075 w 1008348"/>
              <a:gd name="connsiteY43" fmla="*/ 1668178 h 1998194"/>
              <a:gd name="connsiteX44" fmla="*/ 771396 w 1008348"/>
              <a:gd name="connsiteY44" fmla="*/ 1580665 h 1998194"/>
              <a:gd name="connsiteX45" fmla="*/ 762145 w 1008348"/>
              <a:gd name="connsiteY45" fmla="*/ 1539406 h 1998194"/>
              <a:gd name="connsiteX46" fmla="*/ 873434 w 1008348"/>
              <a:gd name="connsiteY46" fmla="*/ 1508600 h 1998194"/>
              <a:gd name="connsiteX47" fmla="*/ 844386 w 1008348"/>
              <a:gd name="connsiteY47" fmla="*/ 1396849 h 1998194"/>
              <a:gd name="connsiteX48" fmla="*/ 877134 w 1008348"/>
              <a:gd name="connsiteY48" fmla="*/ 1387598 h 1998194"/>
              <a:gd name="connsiteX49" fmla="*/ 953917 w 1008348"/>
              <a:gd name="connsiteY49" fmla="*/ 1328948 h 1998194"/>
              <a:gd name="connsiteX50" fmla="*/ 876301 w 1008348"/>
              <a:gd name="connsiteY50" fmla="*/ 1308411 h 1998194"/>
              <a:gd name="connsiteX51" fmla="*/ 825977 w 1008348"/>
              <a:gd name="connsiteY51" fmla="*/ 1313684 h 1998194"/>
              <a:gd name="connsiteX52" fmla="*/ 671486 w 1008348"/>
              <a:gd name="connsiteY52" fmla="*/ 1192590 h 1998194"/>
              <a:gd name="connsiteX53" fmla="*/ 658998 w 1008348"/>
              <a:gd name="connsiteY53" fmla="*/ 1313221 h 1998194"/>
              <a:gd name="connsiteX54" fmla="*/ 720331 w 1008348"/>
              <a:gd name="connsiteY54" fmla="*/ 1290649 h 1998194"/>
              <a:gd name="connsiteX55" fmla="*/ 731710 w 1008348"/>
              <a:gd name="connsiteY55" fmla="*/ 1350317 h 1998194"/>
              <a:gd name="connsiteX56" fmla="*/ 607008 w 1008348"/>
              <a:gd name="connsiteY56" fmla="*/ 1325618 h 1998194"/>
              <a:gd name="connsiteX57" fmla="*/ 624954 w 1008348"/>
              <a:gd name="connsiteY57" fmla="*/ 1179638 h 1998194"/>
              <a:gd name="connsiteX58" fmla="*/ 608395 w 1008348"/>
              <a:gd name="connsiteY58" fmla="*/ 1156048 h 1998194"/>
              <a:gd name="connsiteX59" fmla="*/ 561586 w 1008348"/>
              <a:gd name="connsiteY59" fmla="*/ 1196845 h 1998194"/>
              <a:gd name="connsiteX60" fmla="*/ 505895 w 1008348"/>
              <a:gd name="connsiteY60" fmla="*/ 1125150 h 1998194"/>
              <a:gd name="connsiteX61" fmla="*/ 583788 w 1008348"/>
              <a:gd name="connsiteY61" fmla="*/ 1109887 h 1998194"/>
              <a:gd name="connsiteX62" fmla="*/ 515886 w 1008348"/>
              <a:gd name="connsiteY62" fmla="*/ 1068905 h 1998194"/>
              <a:gd name="connsiteX63" fmla="*/ 592669 w 1008348"/>
              <a:gd name="connsiteY63" fmla="*/ 1020615 h 1998194"/>
              <a:gd name="connsiteX64" fmla="*/ 622642 w 1008348"/>
              <a:gd name="connsiteY64" fmla="*/ 1074918 h 1998194"/>
              <a:gd name="connsiteX65" fmla="*/ 646232 w 1008348"/>
              <a:gd name="connsiteY65" fmla="*/ 1058359 h 1998194"/>
              <a:gd name="connsiteX66" fmla="*/ 679350 w 1008348"/>
              <a:gd name="connsiteY66" fmla="*/ 915063 h 1998194"/>
              <a:gd name="connsiteX67" fmla="*/ 804977 w 1008348"/>
              <a:gd name="connsiteY67" fmla="*/ 934490 h 1998194"/>
              <a:gd name="connsiteX68" fmla="*/ 773894 w 1008348"/>
              <a:gd name="connsiteY68" fmla="*/ 986757 h 1998194"/>
              <a:gd name="connsiteX69" fmla="*/ 724032 w 1008348"/>
              <a:gd name="connsiteY69" fmla="*/ 944573 h 1998194"/>
              <a:gd name="connsiteX70" fmla="*/ 694521 w 1008348"/>
              <a:gd name="connsiteY70" fmla="*/ 1062244 h 1998194"/>
              <a:gd name="connsiteX71" fmla="*/ 881112 w 1008348"/>
              <a:gd name="connsiteY71" fmla="*/ 1001281 h 1998194"/>
              <a:gd name="connsiteX72" fmla="*/ 910807 w 1008348"/>
              <a:gd name="connsiteY72" fmla="*/ 1017933 h 1998194"/>
              <a:gd name="connsiteX73" fmla="*/ 1006554 w 1008348"/>
              <a:gd name="connsiteY73" fmla="*/ 1030699 h 1998194"/>
              <a:gd name="connsiteX74" fmla="*/ 954472 w 1008348"/>
              <a:gd name="connsiteY74" fmla="*/ 949291 h 1998194"/>
              <a:gd name="connsiteX75" fmla="*/ 926904 w 1008348"/>
              <a:gd name="connsiteY75" fmla="*/ 929401 h 1998194"/>
              <a:gd name="connsiteX76" fmla="*/ 992400 w 1008348"/>
              <a:gd name="connsiteY76" fmla="*/ 834302 h 1998194"/>
              <a:gd name="connsiteX77" fmla="*/ 898319 w 1008348"/>
              <a:gd name="connsiteY77" fmla="*/ 767326 h 1998194"/>
              <a:gd name="connsiteX78" fmla="*/ 917468 w 1008348"/>
              <a:gd name="connsiteY78" fmla="*/ 739203 h 1998194"/>
              <a:gd name="connsiteX79" fmla="*/ 938560 w 1008348"/>
              <a:gd name="connsiteY79" fmla="*/ 644936 h 1998194"/>
              <a:gd name="connsiteX80" fmla="*/ 841148 w 1008348"/>
              <a:gd name="connsiteY80" fmla="*/ 701829 h 1998194"/>
              <a:gd name="connsiteX81" fmla="*/ 830787 w 1008348"/>
              <a:gd name="connsiteY81" fmla="*/ 715521 h 1998194"/>
              <a:gd name="connsiteX82" fmla="*/ 634575 w 1008348"/>
              <a:gd name="connsiteY82" fmla="*/ 722089 h 1998194"/>
              <a:gd name="connsiteX83" fmla="*/ 702570 w 1008348"/>
              <a:gd name="connsiteY83" fmla="*/ 822554 h 1998194"/>
              <a:gd name="connsiteX84" fmla="*/ 735040 w 1008348"/>
              <a:gd name="connsiteY84" fmla="*/ 765846 h 1998194"/>
              <a:gd name="connsiteX85" fmla="*/ 782127 w 1008348"/>
              <a:gd name="connsiteY85" fmla="*/ 804329 h 1998194"/>
              <a:gd name="connsiteX86" fmla="*/ 670654 w 1008348"/>
              <a:gd name="connsiteY86" fmla="*/ 865570 h 1998194"/>
              <a:gd name="connsiteX87" fmla="*/ 590541 w 1008348"/>
              <a:gd name="connsiteY87" fmla="*/ 742163 h 1998194"/>
              <a:gd name="connsiteX88" fmla="*/ 562696 w 1008348"/>
              <a:gd name="connsiteY88" fmla="*/ 734670 h 1998194"/>
              <a:gd name="connsiteX89" fmla="*/ 553075 w 1008348"/>
              <a:gd name="connsiteY89" fmla="*/ 796004 h 1998194"/>
              <a:gd name="connsiteX90" fmla="*/ 464359 w 1008348"/>
              <a:gd name="connsiteY90" fmla="*/ 776854 h 1998194"/>
              <a:gd name="connsiteX91" fmla="*/ 514221 w 1008348"/>
              <a:gd name="connsiteY91" fmla="*/ 715151 h 1998194"/>
              <a:gd name="connsiteX92" fmla="*/ 435866 w 1008348"/>
              <a:gd name="connsiteY92" fmla="*/ 727454 h 1998194"/>
              <a:gd name="connsiteX93" fmla="*/ 463711 w 1008348"/>
              <a:gd name="connsiteY93" fmla="*/ 641051 h 1998194"/>
              <a:gd name="connsiteX94" fmla="*/ 521622 w 1008348"/>
              <a:gd name="connsiteY94" fmla="*/ 663346 h 1998194"/>
              <a:gd name="connsiteX95" fmla="*/ 529115 w 1008348"/>
              <a:gd name="connsiteY95" fmla="*/ 635500 h 1998194"/>
              <a:gd name="connsiteX96" fmla="*/ 462324 w 1008348"/>
              <a:gd name="connsiteY96" fmla="*/ 504415 h 1998194"/>
              <a:gd name="connsiteX97" fmla="*/ 571114 w 1008348"/>
              <a:gd name="connsiteY97" fmla="*/ 438549 h 1998194"/>
              <a:gd name="connsiteX98" fmla="*/ 580920 w 1008348"/>
              <a:gd name="connsiteY98" fmla="*/ 498495 h 1998194"/>
              <a:gd name="connsiteX99" fmla="*/ 515609 w 1008348"/>
              <a:gd name="connsiteY99" fmla="*/ 498217 h 1998194"/>
              <a:gd name="connsiteX100" fmla="*/ 568616 w 1008348"/>
              <a:gd name="connsiteY100" fmla="*/ 607285 h 1998194"/>
              <a:gd name="connsiteX101" fmla="*/ 672412 w 1008348"/>
              <a:gd name="connsiteY101" fmla="*/ 440676 h 1998194"/>
              <a:gd name="connsiteX102" fmla="*/ 697667 w 1008348"/>
              <a:gd name="connsiteY102" fmla="*/ 436606 h 1998194"/>
              <a:gd name="connsiteX103" fmla="*/ 787400 w 1008348"/>
              <a:gd name="connsiteY103" fmla="*/ 382488 h 1998194"/>
              <a:gd name="connsiteX104" fmla="*/ 695169 w 1008348"/>
              <a:gd name="connsiteY104" fmla="*/ 353625 h 1998194"/>
              <a:gd name="connsiteX105" fmla="*/ 661310 w 1008348"/>
              <a:gd name="connsiteY105" fmla="*/ 356123 h 1998194"/>
              <a:gd name="connsiteX106" fmla="*/ 650302 w 1008348"/>
              <a:gd name="connsiteY106" fmla="*/ 241135 h 1998194"/>
              <a:gd name="connsiteX107" fmla="*/ 535221 w 1008348"/>
              <a:gd name="connsiteY107" fmla="*/ 250293 h 1998194"/>
              <a:gd name="connsiteX108" fmla="*/ 531798 w 1008348"/>
              <a:gd name="connsiteY108" fmla="*/ 216435 h 1998194"/>
              <a:gd name="connsiteX109" fmla="*/ 527265 w 1008348"/>
              <a:gd name="connsiteY109" fmla="*/ 200246 h 1998194"/>
              <a:gd name="connsiteX110" fmla="*/ 487301 w 1008348"/>
              <a:gd name="connsiteY110" fmla="*/ 130586 h 1998194"/>
              <a:gd name="connsiteX111" fmla="*/ 450482 w 1008348"/>
              <a:gd name="connsiteY111" fmla="*/ 219950 h 1998194"/>
              <a:gd name="connsiteX112" fmla="*/ 450020 w 1008348"/>
              <a:gd name="connsiteY112" fmla="*/ 253901 h 1998194"/>
              <a:gd name="connsiteX113" fmla="*/ 303948 w 1008348"/>
              <a:gd name="connsiteY113" fmla="*/ 384986 h 1998194"/>
              <a:gd name="connsiteX114" fmla="*/ 420602 w 1008348"/>
              <a:gd name="connsiteY114" fmla="*/ 418197 h 1998194"/>
              <a:gd name="connsiteX115" fmla="*/ 409038 w 1008348"/>
              <a:gd name="connsiteY115" fmla="*/ 353903 h 1998194"/>
              <a:gd name="connsiteX116" fmla="*/ 469817 w 1008348"/>
              <a:gd name="connsiteY116" fmla="*/ 353070 h 1998194"/>
              <a:gd name="connsiteX117" fmla="*/ 423840 w 1008348"/>
              <a:gd name="connsiteY117" fmla="*/ 471667 h 1998194"/>
              <a:gd name="connsiteX118" fmla="*/ 283134 w 1008348"/>
              <a:gd name="connsiteY118" fmla="*/ 428650 h 1998194"/>
              <a:gd name="connsiteX119" fmla="*/ 257046 w 1008348"/>
              <a:gd name="connsiteY119" fmla="*/ 440862 h 1998194"/>
              <a:gd name="connsiteX120" fmla="*/ 289054 w 1008348"/>
              <a:gd name="connsiteY120" fmla="*/ 493962 h 1998194"/>
              <a:gd name="connsiteX121" fmla="*/ 208756 w 1008348"/>
              <a:gd name="connsiteY121" fmla="*/ 536331 h 1998194"/>
              <a:gd name="connsiteX122" fmla="*/ 207276 w 1008348"/>
              <a:gd name="connsiteY122" fmla="*/ 457051 h 1998194"/>
              <a:gd name="connsiteX123" fmla="*/ 155101 w 1008348"/>
              <a:gd name="connsiteY123" fmla="*/ 516811 h 1998194"/>
              <a:gd name="connsiteX124" fmla="*/ 120873 w 1008348"/>
              <a:gd name="connsiteY124" fmla="*/ 432721 h 1998194"/>
              <a:gd name="connsiteX125" fmla="*/ 179616 w 1008348"/>
              <a:gd name="connsiteY125" fmla="*/ 412646 h 1998194"/>
              <a:gd name="connsiteX126" fmla="*/ 167405 w 1008348"/>
              <a:gd name="connsiteY126" fmla="*/ 386559 h 1998194"/>
              <a:gd name="connsiteX127" fmla="*/ 31972 w 1008348"/>
              <a:gd name="connsiteY127" fmla="*/ 329018 h 1998194"/>
              <a:gd name="connsiteX128" fmla="*/ 72953 w 1008348"/>
              <a:gd name="connsiteY128" fmla="*/ 208664 h 1998194"/>
              <a:gd name="connsiteX129" fmla="*/ 119023 w 1008348"/>
              <a:gd name="connsiteY129" fmla="*/ 248350 h 1998194"/>
              <a:gd name="connsiteX130" fmla="*/ 68790 w 1008348"/>
              <a:gd name="connsiteY130" fmla="*/ 290164 h 1998194"/>
              <a:gd name="connsiteX131" fmla="*/ 179524 w 1008348"/>
              <a:gd name="connsiteY131" fmla="*/ 339657 h 1998194"/>
              <a:gd name="connsiteX132" fmla="*/ 151863 w 1008348"/>
              <a:gd name="connsiteY132" fmla="*/ 145295 h 1998194"/>
              <a:gd name="connsiteX133" fmla="*/ 163520 w 1008348"/>
              <a:gd name="connsiteY133" fmla="*/ 132714 h 1998194"/>
              <a:gd name="connsiteX134" fmla="*/ 202651 w 1008348"/>
              <a:gd name="connsiteY134" fmla="*/ 26884 h 1998194"/>
              <a:gd name="connsiteX135" fmla="*/ 127256 w 1008348"/>
              <a:gd name="connsiteY135" fmla="*/ 54544 h 1998194"/>
              <a:gd name="connsiteX136" fmla="*/ 100613 w 1008348"/>
              <a:gd name="connsiteY136" fmla="*/ 75081 h 1998194"/>
              <a:gd name="connsiteX137" fmla="*/ 89050 w 1008348"/>
              <a:gd name="connsiteY137" fmla="*/ 87755 h 1998194"/>
              <a:gd name="connsiteX138" fmla="*/ 6717 w 1008348"/>
              <a:gd name="connsiteY138" fmla="*/ 6717 h 1998194"/>
              <a:gd name="connsiteX139" fmla="*/ 6717 w 1008348"/>
              <a:gd name="connsiteY139" fmla="*/ 72121 h 1998194"/>
              <a:gd name="connsiteX140" fmla="*/ 32804 w 1008348"/>
              <a:gd name="connsiteY140" fmla="*/ 171938 h 1998194"/>
              <a:gd name="connsiteX141" fmla="*/ 6717 w 1008348"/>
              <a:gd name="connsiteY141" fmla="*/ 204779 h 1998194"/>
              <a:gd name="connsiteX142" fmla="*/ 6717 w 1008348"/>
              <a:gd name="connsiteY142" fmla="*/ 423747 h 1998194"/>
              <a:gd name="connsiteX143" fmla="*/ 87107 w 1008348"/>
              <a:gd name="connsiteY143" fmla="*/ 511538 h 1998194"/>
              <a:gd name="connsiteX144" fmla="*/ 6717 w 1008348"/>
              <a:gd name="connsiteY144" fmla="*/ 601087 h 1998194"/>
              <a:gd name="connsiteX145" fmla="*/ 6717 w 1008348"/>
              <a:gd name="connsiteY145" fmla="*/ 643086 h 1998194"/>
              <a:gd name="connsiteX146" fmla="*/ 15320 w 1008348"/>
              <a:gd name="connsiteY146" fmla="*/ 644474 h 1998194"/>
              <a:gd name="connsiteX147" fmla="*/ 6717 w 1008348"/>
              <a:gd name="connsiteY147" fmla="*/ 649284 h 1998194"/>
              <a:gd name="connsiteX148" fmla="*/ 6717 w 1008348"/>
              <a:gd name="connsiteY148" fmla="*/ 719128 h 1998194"/>
              <a:gd name="connsiteX149" fmla="*/ 14488 w 1008348"/>
              <a:gd name="connsiteY149" fmla="*/ 716816 h 1998194"/>
              <a:gd name="connsiteX150" fmla="*/ 6717 w 1008348"/>
              <a:gd name="connsiteY150" fmla="*/ 741423 h 1998194"/>
              <a:gd name="connsiteX151" fmla="*/ 6717 w 1008348"/>
              <a:gd name="connsiteY151" fmla="*/ 905349 h 1998194"/>
              <a:gd name="connsiteX152" fmla="*/ 26606 w 1008348"/>
              <a:gd name="connsiteY152" fmla="*/ 953176 h 1998194"/>
              <a:gd name="connsiteX153" fmla="*/ 72583 w 1008348"/>
              <a:gd name="connsiteY153" fmla="*/ 929309 h 1998194"/>
              <a:gd name="connsiteX154" fmla="*/ 57042 w 1008348"/>
              <a:gd name="connsiteY154" fmla="*/ 978709 h 1998194"/>
              <a:gd name="connsiteX155" fmla="*/ 107644 w 1008348"/>
              <a:gd name="connsiteY155" fmla="*/ 989995 h 1998194"/>
              <a:gd name="connsiteX156" fmla="*/ 63980 w 1008348"/>
              <a:gd name="connsiteY156" fmla="*/ 1017840 h 1998194"/>
              <a:gd name="connsiteX157" fmla="*/ 95525 w 1008348"/>
              <a:gd name="connsiteY157" fmla="*/ 1059007 h 1998194"/>
              <a:gd name="connsiteX158" fmla="*/ 44090 w 1008348"/>
              <a:gd name="connsiteY158" fmla="*/ 1052253 h 1998194"/>
              <a:gd name="connsiteX159" fmla="*/ 41778 w 1008348"/>
              <a:gd name="connsiteY159" fmla="*/ 1104058 h 1998194"/>
              <a:gd name="connsiteX160" fmla="*/ 6717 w 1008348"/>
              <a:gd name="connsiteY160" fmla="*/ 1065852 h 1998194"/>
              <a:gd name="connsiteX161" fmla="*/ 6717 w 1008348"/>
              <a:gd name="connsiteY161" fmla="*/ 1065852 h 1998194"/>
              <a:gd name="connsiteX162" fmla="*/ 6717 w 1008348"/>
              <a:gd name="connsiteY162" fmla="*/ 1127186 h 1998194"/>
              <a:gd name="connsiteX163" fmla="*/ 6717 w 1008348"/>
              <a:gd name="connsiteY163" fmla="*/ 1127186 h 1998194"/>
              <a:gd name="connsiteX164" fmla="*/ 6717 w 1008348"/>
              <a:gd name="connsiteY164" fmla="*/ 1430338 h 1998194"/>
              <a:gd name="connsiteX165" fmla="*/ 6717 w 1008348"/>
              <a:gd name="connsiteY165" fmla="*/ 1593801 h 1998194"/>
              <a:gd name="connsiteX166" fmla="*/ 35302 w 1008348"/>
              <a:gd name="connsiteY166" fmla="*/ 1519794 h 1998194"/>
              <a:gd name="connsiteX167" fmla="*/ 95988 w 1008348"/>
              <a:gd name="connsiteY167" fmla="*/ 1587418 h 1998194"/>
              <a:gd name="connsiteX168" fmla="*/ 267962 w 1008348"/>
              <a:gd name="connsiteY168" fmla="*/ 1802409 h 1998194"/>
              <a:gd name="connsiteX169" fmla="*/ 281284 w 1008348"/>
              <a:gd name="connsiteY169" fmla="*/ 1762630 h 1998194"/>
              <a:gd name="connsiteX170" fmla="*/ 316992 w 1008348"/>
              <a:gd name="connsiteY170" fmla="*/ 1784555 h 1998194"/>
              <a:gd name="connsiteX171" fmla="*/ 326613 w 1008348"/>
              <a:gd name="connsiteY171" fmla="*/ 1887240 h 1998194"/>
              <a:gd name="connsiteX172" fmla="*/ 267962 w 1008348"/>
              <a:gd name="connsiteY172" fmla="*/ 1802409 h 1998194"/>
              <a:gd name="connsiteX173" fmla="*/ 743551 w 1008348"/>
              <a:gd name="connsiteY173" fmla="*/ 1403418 h 1998194"/>
              <a:gd name="connsiteX174" fmla="*/ 816911 w 1008348"/>
              <a:gd name="connsiteY174" fmla="*/ 1475852 h 1998194"/>
              <a:gd name="connsiteX175" fmla="*/ 717463 w 1008348"/>
              <a:gd name="connsiteY175" fmla="*/ 1448562 h 1998194"/>
              <a:gd name="connsiteX176" fmla="*/ 702107 w 1008348"/>
              <a:gd name="connsiteY176" fmla="*/ 1409616 h 1998194"/>
              <a:gd name="connsiteX177" fmla="*/ 743551 w 1008348"/>
              <a:gd name="connsiteY177" fmla="*/ 1403418 h 1998194"/>
              <a:gd name="connsiteX178" fmla="*/ 825236 w 1008348"/>
              <a:gd name="connsiteY178" fmla="*/ 837170 h 1998194"/>
              <a:gd name="connsiteX179" fmla="*/ 928014 w 1008348"/>
              <a:gd name="connsiteY179" fmla="*/ 845496 h 1998194"/>
              <a:gd name="connsiteX180" fmla="*/ 834302 w 1008348"/>
              <a:gd name="connsiteY180" fmla="*/ 888513 h 1998194"/>
              <a:gd name="connsiteX181" fmla="*/ 797484 w 1008348"/>
              <a:gd name="connsiteY181" fmla="*/ 868531 h 1998194"/>
              <a:gd name="connsiteX182" fmla="*/ 825236 w 1008348"/>
              <a:gd name="connsiteY182" fmla="*/ 837170 h 1998194"/>
              <a:gd name="connsiteX183" fmla="*/ 523842 w 1008348"/>
              <a:gd name="connsiteY183" fmla="*/ 350850 h 1998194"/>
              <a:gd name="connsiteX184" fmla="*/ 607933 w 1008348"/>
              <a:gd name="connsiteY184" fmla="*/ 291182 h 1998194"/>
              <a:gd name="connsiteX185" fmla="*/ 563806 w 1008348"/>
              <a:gd name="connsiteY185" fmla="*/ 384431 h 1998194"/>
              <a:gd name="connsiteX186" fmla="*/ 522732 w 1008348"/>
              <a:gd name="connsiteY186" fmla="*/ 392757 h 1998194"/>
              <a:gd name="connsiteX187" fmla="*/ 523842 w 1008348"/>
              <a:gd name="connsiteY187" fmla="*/ 350850 h 1998194"/>
              <a:gd name="connsiteX188" fmla="*/ 124203 w 1008348"/>
              <a:gd name="connsiteY188" fmla="*/ 1028756 h 1998194"/>
              <a:gd name="connsiteX189" fmla="*/ 422822 w 1008348"/>
              <a:gd name="connsiteY189" fmla="*/ 1081394 h 1998194"/>
              <a:gd name="connsiteX190" fmla="*/ 124203 w 1008348"/>
              <a:gd name="connsiteY190" fmla="*/ 1028756 h 1998194"/>
              <a:gd name="connsiteX191" fmla="*/ 262504 w 1008348"/>
              <a:gd name="connsiteY191" fmla="*/ 1146798 h 1998194"/>
              <a:gd name="connsiteX192" fmla="*/ 256584 w 1008348"/>
              <a:gd name="connsiteY192" fmla="*/ 1152441 h 1998194"/>
              <a:gd name="connsiteX193" fmla="*/ 254641 w 1008348"/>
              <a:gd name="connsiteY193" fmla="*/ 1160304 h 1998194"/>
              <a:gd name="connsiteX194" fmla="*/ 237157 w 1008348"/>
              <a:gd name="connsiteY194" fmla="*/ 1141247 h 1998194"/>
              <a:gd name="connsiteX195" fmla="*/ 262504 w 1008348"/>
              <a:gd name="connsiteY195" fmla="*/ 1146798 h 1998194"/>
              <a:gd name="connsiteX196" fmla="*/ 294512 w 1008348"/>
              <a:gd name="connsiteY196" fmla="*/ 965110 h 1998194"/>
              <a:gd name="connsiteX197" fmla="*/ 268887 w 1008348"/>
              <a:gd name="connsiteY197" fmla="*/ 961687 h 1998194"/>
              <a:gd name="connsiteX198" fmla="*/ 291830 w 1008348"/>
              <a:gd name="connsiteY198" fmla="*/ 949753 h 1998194"/>
              <a:gd name="connsiteX199" fmla="*/ 290904 w 1008348"/>
              <a:gd name="connsiteY199" fmla="*/ 957802 h 1998194"/>
              <a:gd name="connsiteX200" fmla="*/ 294512 w 1008348"/>
              <a:gd name="connsiteY200" fmla="*/ 965110 h 1998194"/>
              <a:gd name="connsiteX201" fmla="*/ 359731 w 1008348"/>
              <a:gd name="connsiteY201" fmla="*/ 945683 h 1998194"/>
              <a:gd name="connsiteX202" fmla="*/ 362969 w 1008348"/>
              <a:gd name="connsiteY202" fmla="*/ 936432 h 1998194"/>
              <a:gd name="connsiteX203" fmla="*/ 365837 w 1008348"/>
              <a:gd name="connsiteY203" fmla="*/ 944666 h 1998194"/>
              <a:gd name="connsiteX204" fmla="*/ 365929 w 1008348"/>
              <a:gd name="connsiteY204" fmla="*/ 953361 h 1998194"/>
              <a:gd name="connsiteX205" fmla="*/ 359731 w 1008348"/>
              <a:gd name="connsiteY205" fmla="*/ 945683 h 1998194"/>
              <a:gd name="connsiteX206" fmla="*/ 316899 w 1008348"/>
              <a:gd name="connsiteY206" fmla="*/ 1197122 h 1998194"/>
              <a:gd name="connsiteX207" fmla="*/ 317084 w 1008348"/>
              <a:gd name="connsiteY207" fmla="*/ 1187317 h 1998194"/>
              <a:gd name="connsiteX208" fmla="*/ 325503 w 1008348"/>
              <a:gd name="connsiteY208" fmla="*/ 1182229 h 1998194"/>
              <a:gd name="connsiteX209" fmla="*/ 322450 w 1008348"/>
              <a:gd name="connsiteY209" fmla="*/ 1190369 h 1998194"/>
              <a:gd name="connsiteX210" fmla="*/ 316899 w 1008348"/>
              <a:gd name="connsiteY210" fmla="*/ 1197122 h 1998194"/>
              <a:gd name="connsiteX211" fmla="*/ 512463 w 1008348"/>
              <a:gd name="connsiteY211" fmla="*/ 1300085 h 1998194"/>
              <a:gd name="connsiteX212" fmla="*/ 396180 w 1008348"/>
              <a:gd name="connsiteY212" fmla="*/ 1325803 h 1998194"/>
              <a:gd name="connsiteX213" fmla="*/ 358806 w 1008348"/>
              <a:gd name="connsiteY213" fmla="*/ 1211369 h 1998194"/>
              <a:gd name="connsiteX214" fmla="*/ 476570 w 1008348"/>
              <a:gd name="connsiteY214" fmla="*/ 1186484 h 1998194"/>
              <a:gd name="connsiteX215" fmla="*/ 512463 w 1008348"/>
              <a:gd name="connsiteY215" fmla="*/ 1300085 h 1998194"/>
              <a:gd name="connsiteX216" fmla="*/ 481380 w 1008348"/>
              <a:gd name="connsiteY216" fmla="*/ 842628 h 1998194"/>
              <a:gd name="connsiteX217" fmla="*/ 581845 w 1008348"/>
              <a:gd name="connsiteY217" fmla="*/ 906552 h 1998194"/>
              <a:gd name="connsiteX218" fmla="*/ 509318 w 1008348"/>
              <a:gd name="connsiteY218" fmla="*/ 1001004 h 1998194"/>
              <a:gd name="connsiteX219" fmla="*/ 407188 w 1008348"/>
              <a:gd name="connsiteY219" fmla="*/ 937357 h 1998194"/>
              <a:gd name="connsiteX220" fmla="*/ 481380 w 1008348"/>
              <a:gd name="connsiteY220" fmla="*/ 842628 h 1998194"/>
              <a:gd name="connsiteX221" fmla="*/ 263984 w 1008348"/>
              <a:gd name="connsiteY221" fmla="*/ 576110 h 1998194"/>
              <a:gd name="connsiteX222" fmla="*/ 382026 w 1008348"/>
              <a:gd name="connsiteY222" fmla="*/ 560476 h 1998194"/>
              <a:gd name="connsiteX223" fmla="*/ 387114 w 1008348"/>
              <a:gd name="connsiteY223" fmla="*/ 679442 h 1998194"/>
              <a:gd name="connsiteX224" fmla="*/ 267962 w 1008348"/>
              <a:gd name="connsiteY224" fmla="*/ 696371 h 1998194"/>
              <a:gd name="connsiteX225" fmla="*/ 263984 w 1008348"/>
              <a:gd name="connsiteY225" fmla="*/ 576110 h 1998194"/>
              <a:gd name="connsiteX226" fmla="*/ 246685 w 1008348"/>
              <a:gd name="connsiteY226" fmla="*/ 735133 h 1998194"/>
              <a:gd name="connsiteX227" fmla="*/ 237064 w 1008348"/>
              <a:gd name="connsiteY227" fmla="*/ 733282 h 1998194"/>
              <a:gd name="connsiteX228" fmla="*/ 233549 w 1008348"/>
              <a:gd name="connsiteY228" fmla="*/ 724124 h 1998194"/>
              <a:gd name="connsiteX229" fmla="*/ 241042 w 1008348"/>
              <a:gd name="connsiteY229" fmla="*/ 728564 h 1998194"/>
              <a:gd name="connsiteX230" fmla="*/ 246685 w 1008348"/>
              <a:gd name="connsiteY230" fmla="*/ 735133 h 1998194"/>
              <a:gd name="connsiteX231" fmla="*/ 187664 w 1008348"/>
              <a:gd name="connsiteY231" fmla="*/ 779999 h 1998194"/>
              <a:gd name="connsiteX232" fmla="*/ 192197 w 1008348"/>
              <a:gd name="connsiteY232" fmla="*/ 786753 h 1998194"/>
              <a:gd name="connsiteX233" fmla="*/ 199691 w 1008348"/>
              <a:gd name="connsiteY233" fmla="*/ 789990 h 1998194"/>
              <a:gd name="connsiteX234" fmla="*/ 177858 w 1008348"/>
              <a:gd name="connsiteY234" fmla="*/ 803867 h 1998194"/>
              <a:gd name="connsiteX235" fmla="*/ 187664 w 1008348"/>
              <a:gd name="connsiteY235" fmla="*/ 779999 h 1998194"/>
              <a:gd name="connsiteX236" fmla="*/ 372590 w 1008348"/>
              <a:gd name="connsiteY236" fmla="*/ 796651 h 1998194"/>
              <a:gd name="connsiteX237" fmla="*/ 110049 w 1008348"/>
              <a:gd name="connsiteY237" fmla="*/ 948273 h 1998194"/>
              <a:gd name="connsiteX238" fmla="*/ 372590 w 1008348"/>
              <a:gd name="connsiteY238" fmla="*/ 796651 h 1998194"/>
              <a:gd name="connsiteX239" fmla="*/ 47421 w 1008348"/>
              <a:gd name="connsiteY239" fmla="*/ 895728 h 1998194"/>
              <a:gd name="connsiteX240" fmla="*/ 151123 w 1008348"/>
              <a:gd name="connsiteY240" fmla="*/ 610801 h 1998194"/>
              <a:gd name="connsiteX241" fmla="*/ 47421 w 1008348"/>
              <a:gd name="connsiteY241" fmla="*/ 895728 h 1998194"/>
              <a:gd name="connsiteX242" fmla="*/ 278231 w 1008348"/>
              <a:gd name="connsiteY242" fmla="*/ 1331816 h 1998194"/>
              <a:gd name="connsiteX243" fmla="*/ 83314 w 1008348"/>
              <a:gd name="connsiteY243" fmla="*/ 1099526 h 1998194"/>
              <a:gd name="connsiteX244" fmla="*/ 278231 w 1008348"/>
              <a:gd name="connsiteY244" fmla="*/ 1331816 h 1998194"/>
              <a:gd name="connsiteX245" fmla="*/ 138912 w 1008348"/>
              <a:gd name="connsiteY245" fmla="*/ 1346524 h 1998194"/>
              <a:gd name="connsiteX246" fmla="*/ 131326 w 1008348"/>
              <a:gd name="connsiteY246" fmla="*/ 1350780 h 1998194"/>
              <a:gd name="connsiteX247" fmla="*/ 122816 w 1008348"/>
              <a:gd name="connsiteY247" fmla="*/ 1352353 h 1998194"/>
              <a:gd name="connsiteX248" fmla="*/ 129291 w 1008348"/>
              <a:gd name="connsiteY248" fmla="*/ 1344952 h 1998194"/>
              <a:gd name="connsiteX249" fmla="*/ 138912 w 1008348"/>
              <a:gd name="connsiteY249" fmla="*/ 1346524 h 1998194"/>
              <a:gd name="connsiteX250" fmla="*/ 113380 w 1008348"/>
              <a:gd name="connsiteY250" fmla="*/ 1278808 h 1998194"/>
              <a:gd name="connsiteX251" fmla="*/ 105239 w 1008348"/>
              <a:gd name="connsiteY251" fmla="*/ 1279270 h 1998194"/>
              <a:gd name="connsiteX252" fmla="*/ 98671 w 1008348"/>
              <a:gd name="connsiteY252" fmla="*/ 1284081 h 1998194"/>
              <a:gd name="connsiteX253" fmla="*/ 97561 w 1008348"/>
              <a:gd name="connsiteY253" fmla="*/ 1258271 h 1998194"/>
              <a:gd name="connsiteX254" fmla="*/ 113380 w 1008348"/>
              <a:gd name="connsiteY254" fmla="*/ 1278808 h 1998194"/>
              <a:gd name="connsiteX255" fmla="*/ 145665 w 1008348"/>
              <a:gd name="connsiteY255" fmla="*/ 1390281 h 1998194"/>
              <a:gd name="connsiteX256" fmla="*/ 251866 w 1008348"/>
              <a:gd name="connsiteY256" fmla="*/ 1446897 h 1998194"/>
              <a:gd name="connsiteX257" fmla="*/ 206351 w 1008348"/>
              <a:gd name="connsiteY257" fmla="*/ 1556890 h 1998194"/>
              <a:gd name="connsiteX258" fmla="*/ 100798 w 1008348"/>
              <a:gd name="connsiteY258" fmla="*/ 1501847 h 1998194"/>
              <a:gd name="connsiteX259" fmla="*/ 145665 w 1008348"/>
              <a:gd name="connsiteY259" fmla="*/ 1390281 h 1998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</a:cxnLst>
            <a:rect l="l" t="t" r="r" b="b"/>
            <a:pathLst>
              <a:path w="1008348" h="1998194">
                <a:moveTo>
                  <a:pt x="95988" y="1587418"/>
                </a:moveTo>
                <a:cubicBezTo>
                  <a:pt x="69715" y="1594449"/>
                  <a:pt x="51306" y="1615541"/>
                  <a:pt x="47698" y="1626364"/>
                </a:cubicBezTo>
                <a:cubicBezTo>
                  <a:pt x="39465" y="1651157"/>
                  <a:pt x="54729" y="1653747"/>
                  <a:pt x="68050" y="1646716"/>
                </a:cubicBezTo>
                <a:cubicBezTo>
                  <a:pt x="140485" y="1608418"/>
                  <a:pt x="196083" y="1634875"/>
                  <a:pt x="214955" y="1654395"/>
                </a:cubicBezTo>
                <a:cubicBezTo>
                  <a:pt x="246315" y="1686958"/>
                  <a:pt x="246963" y="1748939"/>
                  <a:pt x="217637" y="1781502"/>
                </a:cubicBezTo>
                <a:cubicBezTo>
                  <a:pt x="121058" y="1888905"/>
                  <a:pt x="41593" y="1705644"/>
                  <a:pt x="160837" y="1759947"/>
                </a:cubicBezTo>
                <a:cubicBezTo>
                  <a:pt x="193400" y="1774749"/>
                  <a:pt x="214492" y="1729697"/>
                  <a:pt x="193677" y="1703517"/>
                </a:cubicBezTo>
                <a:cubicBezTo>
                  <a:pt x="165925" y="1668456"/>
                  <a:pt x="107922" y="1672989"/>
                  <a:pt x="72676" y="1694821"/>
                </a:cubicBezTo>
                <a:cubicBezTo>
                  <a:pt x="24849" y="1724609"/>
                  <a:pt x="2646" y="1867258"/>
                  <a:pt x="165092" y="1867998"/>
                </a:cubicBezTo>
                <a:cubicBezTo>
                  <a:pt x="161207" y="1875769"/>
                  <a:pt x="158247" y="1883817"/>
                  <a:pt x="155934" y="1891958"/>
                </a:cubicBezTo>
                <a:cubicBezTo>
                  <a:pt x="153621" y="1900098"/>
                  <a:pt x="152048" y="1908332"/>
                  <a:pt x="151123" y="1916657"/>
                </a:cubicBezTo>
                <a:cubicBezTo>
                  <a:pt x="147978" y="1944318"/>
                  <a:pt x="151586" y="1972255"/>
                  <a:pt x="157876" y="1996678"/>
                </a:cubicBezTo>
                <a:cubicBezTo>
                  <a:pt x="183872" y="1981321"/>
                  <a:pt x="210884" y="1959674"/>
                  <a:pt x="229016" y="1931274"/>
                </a:cubicBezTo>
                <a:cubicBezTo>
                  <a:pt x="235029" y="1921838"/>
                  <a:pt x="240117" y="1911570"/>
                  <a:pt x="243817" y="1900654"/>
                </a:cubicBezTo>
                <a:cubicBezTo>
                  <a:pt x="283226" y="1939692"/>
                  <a:pt x="319212" y="1951811"/>
                  <a:pt x="348908" y="1948666"/>
                </a:cubicBezTo>
                <a:cubicBezTo>
                  <a:pt x="373700" y="1932014"/>
                  <a:pt x="393404" y="1899636"/>
                  <a:pt x="398492" y="1844408"/>
                </a:cubicBezTo>
                <a:cubicBezTo>
                  <a:pt x="403395" y="1847461"/>
                  <a:pt x="408483" y="1850051"/>
                  <a:pt x="413664" y="1852364"/>
                </a:cubicBezTo>
                <a:cubicBezTo>
                  <a:pt x="418844" y="1854677"/>
                  <a:pt x="424117" y="1856712"/>
                  <a:pt x="429483" y="1858377"/>
                </a:cubicBezTo>
                <a:cubicBezTo>
                  <a:pt x="461584" y="1868460"/>
                  <a:pt x="496182" y="1867720"/>
                  <a:pt x="525970" y="1862817"/>
                </a:cubicBezTo>
                <a:cubicBezTo>
                  <a:pt x="512926" y="1835527"/>
                  <a:pt x="493684" y="1806757"/>
                  <a:pt x="467042" y="1786312"/>
                </a:cubicBezTo>
                <a:cubicBezTo>
                  <a:pt x="458161" y="1779467"/>
                  <a:pt x="448447" y="1773546"/>
                  <a:pt x="437809" y="1768921"/>
                </a:cubicBezTo>
                <a:cubicBezTo>
                  <a:pt x="561771" y="1663923"/>
                  <a:pt x="453073" y="1568916"/>
                  <a:pt x="397290" y="1576872"/>
                </a:cubicBezTo>
                <a:cubicBezTo>
                  <a:pt x="356216" y="1582700"/>
                  <a:pt x="308944" y="1616558"/>
                  <a:pt x="310146" y="1661240"/>
                </a:cubicBezTo>
                <a:cubicBezTo>
                  <a:pt x="311071" y="1694636"/>
                  <a:pt x="356216" y="1715636"/>
                  <a:pt x="371665" y="1683350"/>
                </a:cubicBezTo>
                <a:cubicBezTo>
                  <a:pt x="428095" y="1565123"/>
                  <a:pt x="484988" y="1756524"/>
                  <a:pt x="341969" y="1736357"/>
                </a:cubicBezTo>
                <a:cubicBezTo>
                  <a:pt x="298583" y="1730252"/>
                  <a:pt x="259174" y="1682332"/>
                  <a:pt x="262319" y="1637280"/>
                </a:cubicBezTo>
                <a:cubicBezTo>
                  <a:pt x="264169" y="1610175"/>
                  <a:pt x="289794" y="1554207"/>
                  <a:pt x="369907" y="1536908"/>
                </a:cubicBezTo>
                <a:cubicBezTo>
                  <a:pt x="384616" y="1533763"/>
                  <a:pt x="394700" y="1521922"/>
                  <a:pt x="372405" y="1508230"/>
                </a:cubicBezTo>
                <a:cubicBezTo>
                  <a:pt x="362599" y="1502217"/>
                  <a:pt x="335031" y="1497962"/>
                  <a:pt x="310331" y="1509433"/>
                </a:cubicBezTo>
                <a:cubicBezTo>
                  <a:pt x="318657" y="1480570"/>
                  <a:pt x="320137" y="1448470"/>
                  <a:pt x="313754" y="1418774"/>
                </a:cubicBezTo>
                <a:cubicBezTo>
                  <a:pt x="343265" y="1441531"/>
                  <a:pt x="366114" y="1452910"/>
                  <a:pt x="383228" y="1457073"/>
                </a:cubicBezTo>
                <a:cubicBezTo>
                  <a:pt x="382026" y="1439589"/>
                  <a:pt x="374810" y="1415074"/>
                  <a:pt x="357511" y="1382048"/>
                </a:cubicBezTo>
                <a:cubicBezTo>
                  <a:pt x="385726" y="1393519"/>
                  <a:pt x="417549" y="1397590"/>
                  <a:pt x="447430" y="1394444"/>
                </a:cubicBezTo>
                <a:cubicBezTo>
                  <a:pt x="431888" y="1416739"/>
                  <a:pt x="431241" y="1444677"/>
                  <a:pt x="435496" y="1455315"/>
                </a:cubicBezTo>
                <a:cubicBezTo>
                  <a:pt x="445117" y="1479645"/>
                  <a:pt x="458531" y="1471782"/>
                  <a:pt x="464174" y="1457813"/>
                </a:cubicBezTo>
                <a:cubicBezTo>
                  <a:pt x="495072" y="1381956"/>
                  <a:pt x="554648" y="1366414"/>
                  <a:pt x="581660" y="1369282"/>
                </a:cubicBezTo>
                <a:cubicBezTo>
                  <a:pt x="626620" y="1374092"/>
                  <a:pt x="666954" y="1421179"/>
                  <a:pt x="665473" y="1464936"/>
                </a:cubicBezTo>
                <a:cubicBezTo>
                  <a:pt x="660478" y="1609250"/>
                  <a:pt x="481843" y="1519979"/>
                  <a:pt x="608118" y="1485010"/>
                </a:cubicBezTo>
                <a:cubicBezTo>
                  <a:pt x="642531" y="1475482"/>
                  <a:pt x="629765" y="1427285"/>
                  <a:pt x="597017" y="1420624"/>
                </a:cubicBezTo>
                <a:cubicBezTo>
                  <a:pt x="553260" y="1411651"/>
                  <a:pt x="511631" y="1452355"/>
                  <a:pt x="498772" y="1491764"/>
                </a:cubicBezTo>
                <a:cubicBezTo>
                  <a:pt x="481288" y="1545326"/>
                  <a:pt x="556035" y="1668826"/>
                  <a:pt x="680922" y="1565031"/>
                </a:cubicBezTo>
                <a:cubicBezTo>
                  <a:pt x="682310" y="1570674"/>
                  <a:pt x="683975" y="1576132"/>
                  <a:pt x="686010" y="1581405"/>
                </a:cubicBezTo>
                <a:cubicBezTo>
                  <a:pt x="689063" y="1589361"/>
                  <a:pt x="692764" y="1596946"/>
                  <a:pt x="697019" y="1604162"/>
                </a:cubicBezTo>
                <a:cubicBezTo>
                  <a:pt x="712653" y="1630620"/>
                  <a:pt x="735503" y="1652082"/>
                  <a:pt x="758075" y="1668178"/>
                </a:cubicBezTo>
                <a:cubicBezTo>
                  <a:pt x="767326" y="1642091"/>
                  <a:pt x="773709" y="1611378"/>
                  <a:pt x="771396" y="1580665"/>
                </a:cubicBezTo>
                <a:cubicBezTo>
                  <a:pt x="770286" y="1566696"/>
                  <a:pt x="767418" y="1552820"/>
                  <a:pt x="762145" y="1539406"/>
                </a:cubicBezTo>
                <a:cubicBezTo>
                  <a:pt x="817466" y="1544031"/>
                  <a:pt x="852804" y="1530155"/>
                  <a:pt x="873434" y="1508600"/>
                </a:cubicBezTo>
                <a:cubicBezTo>
                  <a:pt x="881759" y="1479923"/>
                  <a:pt x="876024" y="1442456"/>
                  <a:pt x="844386" y="1396849"/>
                </a:cubicBezTo>
                <a:cubicBezTo>
                  <a:pt x="855857" y="1395092"/>
                  <a:pt x="866773" y="1391946"/>
                  <a:pt x="877134" y="1387598"/>
                </a:cubicBezTo>
                <a:cubicBezTo>
                  <a:pt x="908217" y="1374740"/>
                  <a:pt x="934305" y="1351890"/>
                  <a:pt x="953917" y="1328948"/>
                </a:cubicBezTo>
                <a:cubicBezTo>
                  <a:pt x="930974" y="1318494"/>
                  <a:pt x="904054" y="1310076"/>
                  <a:pt x="876301" y="1308411"/>
                </a:cubicBezTo>
                <a:cubicBezTo>
                  <a:pt x="859650" y="1307393"/>
                  <a:pt x="842628" y="1308781"/>
                  <a:pt x="825977" y="1313684"/>
                </a:cubicBezTo>
                <a:cubicBezTo>
                  <a:pt x="853452" y="1153551"/>
                  <a:pt x="709045" y="1150683"/>
                  <a:pt x="671486" y="1192590"/>
                </a:cubicBezTo>
                <a:cubicBezTo>
                  <a:pt x="643826" y="1223488"/>
                  <a:pt x="629302" y="1279826"/>
                  <a:pt x="658998" y="1313221"/>
                </a:cubicBezTo>
                <a:cubicBezTo>
                  <a:pt x="681200" y="1338199"/>
                  <a:pt x="729305" y="1325247"/>
                  <a:pt x="720331" y="1290649"/>
                </a:cubicBezTo>
                <a:cubicBezTo>
                  <a:pt x="687583" y="1163819"/>
                  <a:pt x="854192" y="1273905"/>
                  <a:pt x="731710" y="1350317"/>
                </a:cubicBezTo>
                <a:cubicBezTo>
                  <a:pt x="694521" y="1373537"/>
                  <a:pt x="633558" y="1362158"/>
                  <a:pt x="607008" y="1325618"/>
                </a:cubicBezTo>
                <a:cubicBezTo>
                  <a:pt x="591004" y="1303600"/>
                  <a:pt x="574630" y="1244302"/>
                  <a:pt x="624954" y="1179638"/>
                </a:cubicBezTo>
                <a:cubicBezTo>
                  <a:pt x="634205" y="1167705"/>
                  <a:pt x="634298" y="1152256"/>
                  <a:pt x="608395" y="1156048"/>
                </a:cubicBezTo>
                <a:cubicBezTo>
                  <a:pt x="597017" y="1157714"/>
                  <a:pt x="573149" y="1172238"/>
                  <a:pt x="561586" y="1196845"/>
                </a:cubicBezTo>
                <a:cubicBezTo>
                  <a:pt x="549467" y="1169370"/>
                  <a:pt x="529948" y="1143837"/>
                  <a:pt x="505895" y="1125150"/>
                </a:cubicBezTo>
                <a:cubicBezTo>
                  <a:pt x="543176" y="1123578"/>
                  <a:pt x="567969" y="1117657"/>
                  <a:pt x="583788" y="1109887"/>
                </a:cubicBezTo>
                <a:cubicBezTo>
                  <a:pt x="571577" y="1097213"/>
                  <a:pt x="550300" y="1083152"/>
                  <a:pt x="515886" y="1068905"/>
                </a:cubicBezTo>
                <a:cubicBezTo>
                  <a:pt x="544842" y="1059562"/>
                  <a:pt x="571854" y="1042262"/>
                  <a:pt x="592669" y="1020615"/>
                </a:cubicBezTo>
                <a:cubicBezTo>
                  <a:pt x="595074" y="1047720"/>
                  <a:pt x="612558" y="1069460"/>
                  <a:pt x="622642" y="1074918"/>
                </a:cubicBezTo>
                <a:cubicBezTo>
                  <a:pt x="645676" y="1087314"/>
                  <a:pt x="650857" y="1072790"/>
                  <a:pt x="646232" y="1058359"/>
                </a:cubicBezTo>
                <a:cubicBezTo>
                  <a:pt x="621162" y="980374"/>
                  <a:pt x="656778" y="930234"/>
                  <a:pt x="679350" y="915063"/>
                </a:cubicBezTo>
                <a:cubicBezTo>
                  <a:pt x="716908" y="889808"/>
                  <a:pt x="778057" y="899984"/>
                  <a:pt x="804977" y="934490"/>
                </a:cubicBezTo>
                <a:cubicBezTo>
                  <a:pt x="893971" y="1048275"/>
                  <a:pt x="699702" y="1094623"/>
                  <a:pt x="773894" y="986757"/>
                </a:cubicBezTo>
                <a:cubicBezTo>
                  <a:pt x="794153" y="957247"/>
                  <a:pt x="753357" y="928661"/>
                  <a:pt x="724032" y="944573"/>
                </a:cubicBezTo>
                <a:cubicBezTo>
                  <a:pt x="684715" y="965850"/>
                  <a:pt x="679072" y="1023761"/>
                  <a:pt x="694521" y="1062244"/>
                </a:cubicBezTo>
                <a:cubicBezTo>
                  <a:pt x="715521" y="1114512"/>
                  <a:pt x="852157" y="1161137"/>
                  <a:pt x="881112" y="1001281"/>
                </a:cubicBezTo>
                <a:cubicBezTo>
                  <a:pt x="890455" y="1008127"/>
                  <a:pt x="900446" y="1013585"/>
                  <a:pt x="910807" y="1017933"/>
                </a:cubicBezTo>
                <a:cubicBezTo>
                  <a:pt x="941890" y="1030791"/>
                  <a:pt x="976489" y="1033104"/>
                  <a:pt x="1006554" y="1030699"/>
                </a:cubicBezTo>
                <a:cubicBezTo>
                  <a:pt x="995916" y="1002391"/>
                  <a:pt x="979264" y="972048"/>
                  <a:pt x="954472" y="949291"/>
                </a:cubicBezTo>
                <a:cubicBezTo>
                  <a:pt x="946238" y="941705"/>
                  <a:pt x="936987" y="934952"/>
                  <a:pt x="926904" y="929401"/>
                </a:cubicBezTo>
                <a:cubicBezTo>
                  <a:pt x="972233" y="897301"/>
                  <a:pt x="990365" y="864090"/>
                  <a:pt x="992400" y="834302"/>
                </a:cubicBezTo>
                <a:cubicBezTo>
                  <a:pt x="980282" y="807012"/>
                  <a:pt x="951881" y="781942"/>
                  <a:pt x="898319" y="767326"/>
                </a:cubicBezTo>
                <a:cubicBezTo>
                  <a:pt x="905997" y="758630"/>
                  <a:pt x="912287" y="749194"/>
                  <a:pt x="917468" y="739203"/>
                </a:cubicBezTo>
                <a:cubicBezTo>
                  <a:pt x="933009" y="709323"/>
                  <a:pt x="938282" y="675094"/>
                  <a:pt x="938560" y="644936"/>
                </a:cubicBezTo>
                <a:cubicBezTo>
                  <a:pt x="904609" y="654372"/>
                  <a:pt x="867143" y="671764"/>
                  <a:pt x="841148" y="701829"/>
                </a:cubicBezTo>
                <a:cubicBezTo>
                  <a:pt x="837448" y="706085"/>
                  <a:pt x="833932" y="710618"/>
                  <a:pt x="830787" y="715521"/>
                </a:cubicBezTo>
                <a:cubicBezTo>
                  <a:pt x="748917" y="575277"/>
                  <a:pt x="636426" y="665751"/>
                  <a:pt x="634575" y="722089"/>
                </a:cubicBezTo>
                <a:cubicBezTo>
                  <a:pt x="633188" y="763533"/>
                  <a:pt x="658350" y="815985"/>
                  <a:pt x="702570" y="822554"/>
                </a:cubicBezTo>
                <a:cubicBezTo>
                  <a:pt x="735688" y="827457"/>
                  <a:pt x="764181" y="786660"/>
                  <a:pt x="735040" y="765846"/>
                </a:cubicBezTo>
                <a:cubicBezTo>
                  <a:pt x="628377" y="689803"/>
                  <a:pt x="826809" y="666953"/>
                  <a:pt x="782127" y="804329"/>
                </a:cubicBezTo>
                <a:cubicBezTo>
                  <a:pt x="768528" y="845958"/>
                  <a:pt x="714596" y="876486"/>
                  <a:pt x="670654" y="865570"/>
                </a:cubicBezTo>
                <a:cubicBezTo>
                  <a:pt x="644289" y="859002"/>
                  <a:pt x="593594" y="824126"/>
                  <a:pt x="590541" y="742163"/>
                </a:cubicBezTo>
                <a:cubicBezTo>
                  <a:pt x="589986" y="727084"/>
                  <a:pt x="580088" y="715151"/>
                  <a:pt x="562696" y="734670"/>
                </a:cubicBezTo>
                <a:cubicBezTo>
                  <a:pt x="555110" y="743273"/>
                  <a:pt x="546044" y="769731"/>
                  <a:pt x="553075" y="796004"/>
                </a:cubicBezTo>
                <a:cubicBezTo>
                  <a:pt x="526062" y="782775"/>
                  <a:pt x="494794" y="775744"/>
                  <a:pt x="464359" y="776854"/>
                </a:cubicBezTo>
                <a:cubicBezTo>
                  <a:pt x="491834" y="751692"/>
                  <a:pt x="507098" y="731155"/>
                  <a:pt x="514221" y="715151"/>
                </a:cubicBezTo>
                <a:cubicBezTo>
                  <a:pt x="496737" y="713301"/>
                  <a:pt x="471390" y="716168"/>
                  <a:pt x="435866" y="727454"/>
                </a:cubicBezTo>
                <a:cubicBezTo>
                  <a:pt x="452055" y="701644"/>
                  <a:pt x="461676" y="671024"/>
                  <a:pt x="463711" y="641051"/>
                </a:cubicBezTo>
                <a:cubicBezTo>
                  <a:pt x="482953" y="660293"/>
                  <a:pt x="510336" y="665658"/>
                  <a:pt x="521622" y="663346"/>
                </a:cubicBezTo>
                <a:cubicBezTo>
                  <a:pt x="547247" y="658073"/>
                  <a:pt x="541881" y="643549"/>
                  <a:pt x="529115" y="635500"/>
                </a:cubicBezTo>
                <a:cubicBezTo>
                  <a:pt x="459733" y="591836"/>
                  <a:pt x="454830" y="530503"/>
                  <a:pt x="462324" y="504415"/>
                </a:cubicBezTo>
                <a:cubicBezTo>
                  <a:pt x="474812" y="460936"/>
                  <a:pt x="528190" y="429483"/>
                  <a:pt x="571114" y="438549"/>
                </a:cubicBezTo>
                <a:cubicBezTo>
                  <a:pt x="712376" y="468522"/>
                  <a:pt x="593409" y="628932"/>
                  <a:pt x="580920" y="498495"/>
                </a:cubicBezTo>
                <a:cubicBezTo>
                  <a:pt x="577497" y="462879"/>
                  <a:pt x="527820" y="467134"/>
                  <a:pt x="515609" y="498217"/>
                </a:cubicBezTo>
                <a:cubicBezTo>
                  <a:pt x="499142" y="539754"/>
                  <a:pt x="532075" y="587766"/>
                  <a:pt x="568616" y="607285"/>
                </a:cubicBezTo>
                <a:cubicBezTo>
                  <a:pt x="618294" y="633835"/>
                  <a:pt x="752894" y="581660"/>
                  <a:pt x="672412" y="440676"/>
                </a:cubicBezTo>
                <a:cubicBezTo>
                  <a:pt x="681107" y="440121"/>
                  <a:pt x="689526" y="438734"/>
                  <a:pt x="697667" y="436606"/>
                </a:cubicBezTo>
                <a:cubicBezTo>
                  <a:pt x="733190" y="427540"/>
                  <a:pt x="763995" y="405431"/>
                  <a:pt x="787400" y="382488"/>
                </a:cubicBezTo>
                <a:cubicBezTo>
                  <a:pt x="761128" y="367594"/>
                  <a:pt x="728842" y="355106"/>
                  <a:pt x="695169" y="353625"/>
                </a:cubicBezTo>
                <a:cubicBezTo>
                  <a:pt x="683975" y="353163"/>
                  <a:pt x="672597" y="353903"/>
                  <a:pt x="661310" y="356123"/>
                </a:cubicBezTo>
                <a:cubicBezTo>
                  <a:pt x="675464" y="302468"/>
                  <a:pt x="667971" y="265279"/>
                  <a:pt x="650302" y="241135"/>
                </a:cubicBezTo>
                <a:cubicBezTo>
                  <a:pt x="623474" y="227998"/>
                  <a:pt x="585638" y="227073"/>
                  <a:pt x="535221" y="250293"/>
                </a:cubicBezTo>
                <a:cubicBezTo>
                  <a:pt x="535498" y="238729"/>
                  <a:pt x="534296" y="227443"/>
                  <a:pt x="531798" y="216435"/>
                </a:cubicBezTo>
                <a:cubicBezTo>
                  <a:pt x="530595" y="210977"/>
                  <a:pt x="529115" y="205611"/>
                  <a:pt x="527265" y="200246"/>
                </a:cubicBezTo>
                <a:cubicBezTo>
                  <a:pt x="518477" y="173881"/>
                  <a:pt x="503305" y="150013"/>
                  <a:pt x="487301" y="130586"/>
                </a:cubicBezTo>
                <a:cubicBezTo>
                  <a:pt x="470187" y="155471"/>
                  <a:pt x="454923" y="186554"/>
                  <a:pt x="450482" y="219950"/>
                </a:cubicBezTo>
                <a:cubicBezTo>
                  <a:pt x="449002" y="231051"/>
                  <a:pt x="448725" y="242430"/>
                  <a:pt x="450020" y="253901"/>
                </a:cubicBezTo>
                <a:cubicBezTo>
                  <a:pt x="297103" y="199043"/>
                  <a:pt x="269165" y="340767"/>
                  <a:pt x="303948" y="384986"/>
                </a:cubicBezTo>
                <a:cubicBezTo>
                  <a:pt x="329573" y="417549"/>
                  <a:pt x="382488" y="441601"/>
                  <a:pt x="420602" y="418197"/>
                </a:cubicBezTo>
                <a:cubicBezTo>
                  <a:pt x="449095" y="400713"/>
                  <a:pt x="444654" y="351128"/>
                  <a:pt x="409038" y="353903"/>
                </a:cubicBezTo>
                <a:cubicBezTo>
                  <a:pt x="278508" y="364172"/>
                  <a:pt x="415792" y="219117"/>
                  <a:pt x="469817" y="353070"/>
                </a:cubicBezTo>
                <a:cubicBezTo>
                  <a:pt x="486191" y="393682"/>
                  <a:pt x="464451" y="451778"/>
                  <a:pt x="423840" y="471667"/>
                </a:cubicBezTo>
                <a:cubicBezTo>
                  <a:pt x="399418" y="483601"/>
                  <a:pt x="338177" y="489429"/>
                  <a:pt x="283134" y="428650"/>
                </a:cubicBezTo>
                <a:cubicBezTo>
                  <a:pt x="273050" y="417457"/>
                  <a:pt x="257786" y="414681"/>
                  <a:pt x="257046" y="440862"/>
                </a:cubicBezTo>
                <a:cubicBezTo>
                  <a:pt x="256676" y="452333"/>
                  <a:pt x="266852" y="478420"/>
                  <a:pt x="289054" y="493962"/>
                </a:cubicBezTo>
                <a:cubicBezTo>
                  <a:pt x="259914" y="501177"/>
                  <a:pt x="231329" y="515886"/>
                  <a:pt x="208756" y="536331"/>
                </a:cubicBezTo>
                <a:cubicBezTo>
                  <a:pt x="213659" y="499420"/>
                  <a:pt x="212087" y="473887"/>
                  <a:pt x="207276" y="457051"/>
                </a:cubicBezTo>
                <a:cubicBezTo>
                  <a:pt x="192660" y="466857"/>
                  <a:pt x="175083" y="485358"/>
                  <a:pt x="155101" y="516811"/>
                </a:cubicBezTo>
                <a:cubicBezTo>
                  <a:pt x="150938" y="486653"/>
                  <a:pt x="138542" y="457051"/>
                  <a:pt x="120873" y="432721"/>
                </a:cubicBezTo>
                <a:cubicBezTo>
                  <a:pt x="147978" y="435033"/>
                  <a:pt x="172493" y="421620"/>
                  <a:pt x="179616" y="412646"/>
                </a:cubicBezTo>
                <a:cubicBezTo>
                  <a:pt x="195805" y="392109"/>
                  <a:pt x="182391" y="384431"/>
                  <a:pt x="167405" y="386559"/>
                </a:cubicBezTo>
                <a:cubicBezTo>
                  <a:pt x="86182" y="397752"/>
                  <a:pt x="43073" y="353903"/>
                  <a:pt x="31972" y="329018"/>
                </a:cubicBezTo>
                <a:cubicBezTo>
                  <a:pt x="13655" y="287667"/>
                  <a:pt x="34284" y="229201"/>
                  <a:pt x="72953" y="208664"/>
                </a:cubicBezTo>
                <a:cubicBezTo>
                  <a:pt x="200431" y="140762"/>
                  <a:pt x="212457" y="340119"/>
                  <a:pt x="119023" y="248350"/>
                </a:cubicBezTo>
                <a:cubicBezTo>
                  <a:pt x="93490" y="223280"/>
                  <a:pt x="58244" y="258434"/>
                  <a:pt x="68790" y="290164"/>
                </a:cubicBezTo>
                <a:cubicBezTo>
                  <a:pt x="82944" y="332533"/>
                  <a:pt x="139005" y="348167"/>
                  <a:pt x="179524" y="339657"/>
                </a:cubicBezTo>
                <a:cubicBezTo>
                  <a:pt x="234659" y="328093"/>
                  <a:pt x="304226" y="201541"/>
                  <a:pt x="151863" y="145295"/>
                </a:cubicBezTo>
                <a:cubicBezTo>
                  <a:pt x="156026" y="141317"/>
                  <a:pt x="159912" y="137062"/>
                  <a:pt x="163520" y="132714"/>
                </a:cubicBezTo>
                <a:cubicBezTo>
                  <a:pt x="188589" y="101909"/>
                  <a:pt x="199228" y="61945"/>
                  <a:pt x="202651" y="26884"/>
                </a:cubicBezTo>
                <a:cubicBezTo>
                  <a:pt x="177858" y="31509"/>
                  <a:pt x="151031" y="40020"/>
                  <a:pt x="127256" y="54544"/>
                </a:cubicBezTo>
                <a:cubicBezTo>
                  <a:pt x="117728" y="60372"/>
                  <a:pt x="108754" y="67125"/>
                  <a:pt x="100613" y="75081"/>
                </a:cubicBezTo>
                <a:cubicBezTo>
                  <a:pt x="96543" y="79059"/>
                  <a:pt x="92658" y="83222"/>
                  <a:pt x="89050" y="87755"/>
                </a:cubicBezTo>
                <a:cubicBezTo>
                  <a:pt x="65367" y="37522"/>
                  <a:pt x="35765" y="13932"/>
                  <a:pt x="6717" y="6717"/>
                </a:cubicBezTo>
                <a:lnTo>
                  <a:pt x="6717" y="72121"/>
                </a:lnTo>
                <a:cubicBezTo>
                  <a:pt x="33452" y="82389"/>
                  <a:pt x="57412" y="114027"/>
                  <a:pt x="32804" y="171938"/>
                </a:cubicBezTo>
                <a:cubicBezTo>
                  <a:pt x="27439" y="184612"/>
                  <a:pt x="18188" y="195805"/>
                  <a:pt x="6717" y="204779"/>
                </a:cubicBezTo>
                <a:lnTo>
                  <a:pt x="6717" y="423747"/>
                </a:lnTo>
                <a:cubicBezTo>
                  <a:pt x="41778" y="445487"/>
                  <a:pt x="72121" y="478143"/>
                  <a:pt x="87107" y="511538"/>
                </a:cubicBezTo>
                <a:cubicBezTo>
                  <a:pt x="111344" y="565656"/>
                  <a:pt x="89420" y="633465"/>
                  <a:pt x="6717" y="601087"/>
                </a:cubicBezTo>
                <a:lnTo>
                  <a:pt x="6717" y="643086"/>
                </a:lnTo>
                <a:cubicBezTo>
                  <a:pt x="9585" y="643734"/>
                  <a:pt x="12452" y="644196"/>
                  <a:pt x="15320" y="644474"/>
                </a:cubicBezTo>
                <a:cubicBezTo>
                  <a:pt x="12452" y="646139"/>
                  <a:pt x="9585" y="647804"/>
                  <a:pt x="6717" y="649284"/>
                </a:cubicBezTo>
                <a:lnTo>
                  <a:pt x="6717" y="719128"/>
                </a:lnTo>
                <a:cubicBezTo>
                  <a:pt x="9307" y="718389"/>
                  <a:pt x="11897" y="717648"/>
                  <a:pt x="14488" y="716816"/>
                </a:cubicBezTo>
                <a:cubicBezTo>
                  <a:pt x="11527" y="725142"/>
                  <a:pt x="8937" y="733375"/>
                  <a:pt x="6717" y="741423"/>
                </a:cubicBezTo>
                <a:lnTo>
                  <a:pt x="6717" y="905349"/>
                </a:lnTo>
                <a:cubicBezTo>
                  <a:pt x="12267" y="923388"/>
                  <a:pt x="19205" y="939393"/>
                  <a:pt x="26606" y="953176"/>
                </a:cubicBezTo>
                <a:cubicBezTo>
                  <a:pt x="41130" y="947348"/>
                  <a:pt x="56764" y="939577"/>
                  <a:pt x="72583" y="929309"/>
                </a:cubicBezTo>
                <a:cubicBezTo>
                  <a:pt x="65182" y="946701"/>
                  <a:pt x="60279" y="963445"/>
                  <a:pt x="57042" y="978709"/>
                </a:cubicBezTo>
                <a:cubicBezTo>
                  <a:pt x="71936" y="983612"/>
                  <a:pt x="88865" y="987682"/>
                  <a:pt x="107644" y="989995"/>
                </a:cubicBezTo>
                <a:cubicBezTo>
                  <a:pt x="90807" y="998598"/>
                  <a:pt x="76284" y="1008219"/>
                  <a:pt x="63980" y="1017840"/>
                </a:cubicBezTo>
                <a:cubicBezTo>
                  <a:pt x="72213" y="1031161"/>
                  <a:pt x="82574" y="1045223"/>
                  <a:pt x="95525" y="1059007"/>
                </a:cubicBezTo>
                <a:cubicBezTo>
                  <a:pt x="77116" y="1054751"/>
                  <a:pt x="59817" y="1052808"/>
                  <a:pt x="44090" y="1052253"/>
                </a:cubicBezTo>
                <a:cubicBezTo>
                  <a:pt x="41870" y="1067795"/>
                  <a:pt x="40760" y="1085187"/>
                  <a:pt x="41778" y="1104058"/>
                </a:cubicBezTo>
                <a:cubicBezTo>
                  <a:pt x="30399" y="1088979"/>
                  <a:pt x="18373" y="1076306"/>
                  <a:pt x="6717" y="1065852"/>
                </a:cubicBezTo>
                <a:cubicBezTo>
                  <a:pt x="6717" y="1065852"/>
                  <a:pt x="6717" y="1065852"/>
                  <a:pt x="6717" y="1065852"/>
                </a:cubicBezTo>
                <a:lnTo>
                  <a:pt x="6717" y="1127186"/>
                </a:lnTo>
                <a:cubicBezTo>
                  <a:pt x="6717" y="1127186"/>
                  <a:pt x="6717" y="1127186"/>
                  <a:pt x="6717" y="1127186"/>
                </a:cubicBezTo>
                <a:cubicBezTo>
                  <a:pt x="50103" y="1196753"/>
                  <a:pt x="80354" y="1302490"/>
                  <a:pt x="6717" y="1430338"/>
                </a:cubicBezTo>
                <a:lnTo>
                  <a:pt x="6717" y="1593801"/>
                </a:lnTo>
                <a:cubicBezTo>
                  <a:pt x="17078" y="1579647"/>
                  <a:pt x="27254" y="1556150"/>
                  <a:pt x="35302" y="1519794"/>
                </a:cubicBezTo>
                <a:cubicBezTo>
                  <a:pt x="49271" y="1547084"/>
                  <a:pt x="71103" y="1570674"/>
                  <a:pt x="95988" y="1587418"/>
                </a:cubicBezTo>
                <a:close/>
                <a:moveTo>
                  <a:pt x="267962" y="1802409"/>
                </a:moveTo>
                <a:cubicBezTo>
                  <a:pt x="268702" y="1788718"/>
                  <a:pt x="273513" y="1775026"/>
                  <a:pt x="281284" y="1762630"/>
                </a:cubicBezTo>
                <a:cubicBezTo>
                  <a:pt x="295160" y="1767163"/>
                  <a:pt x="307649" y="1774471"/>
                  <a:pt x="316992" y="1784555"/>
                </a:cubicBezTo>
                <a:cubicBezTo>
                  <a:pt x="359916" y="1830532"/>
                  <a:pt x="348168" y="1868460"/>
                  <a:pt x="326613" y="1887240"/>
                </a:cubicBezTo>
                <a:cubicBezTo>
                  <a:pt x="298028" y="1886777"/>
                  <a:pt x="264632" y="1865315"/>
                  <a:pt x="267962" y="1802409"/>
                </a:cubicBezTo>
                <a:close/>
                <a:moveTo>
                  <a:pt x="743551" y="1403418"/>
                </a:moveTo>
                <a:cubicBezTo>
                  <a:pt x="805995" y="1411003"/>
                  <a:pt x="821444" y="1447637"/>
                  <a:pt x="816911" y="1475852"/>
                </a:cubicBezTo>
                <a:cubicBezTo>
                  <a:pt x="794708" y="1493891"/>
                  <a:pt x="755300" y="1498794"/>
                  <a:pt x="717463" y="1448562"/>
                </a:cubicBezTo>
                <a:cubicBezTo>
                  <a:pt x="709230" y="1437554"/>
                  <a:pt x="704142" y="1423955"/>
                  <a:pt x="702107" y="1409616"/>
                </a:cubicBezTo>
                <a:cubicBezTo>
                  <a:pt x="715613" y="1404158"/>
                  <a:pt x="729860" y="1401752"/>
                  <a:pt x="743551" y="1403418"/>
                </a:cubicBezTo>
                <a:close/>
                <a:moveTo>
                  <a:pt x="825236" y="837170"/>
                </a:moveTo>
                <a:cubicBezTo>
                  <a:pt x="877967" y="802849"/>
                  <a:pt x="913305" y="820981"/>
                  <a:pt x="928014" y="845496"/>
                </a:cubicBezTo>
                <a:cubicBezTo>
                  <a:pt x="922556" y="873526"/>
                  <a:pt x="895543" y="902666"/>
                  <a:pt x="834302" y="888513"/>
                </a:cubicBezTo>
                <a:cubicBezTo>
                  <a:pt x="820889" y="885460"/>
                  <a:pt x="808307" y="878244"/>
                  <a:pt x="797484" y="868531"/>
                </a:cubicBezTo>
                <a:cubicBezTo>
                  <a:pt x="804329" y="855672"/>
                  <a:pt x="813765" y="844663"/>
                  <a:pt x="825236" y="837170"/>
                </a:cubicBezTo>
                <a:close/>
                <a:moveTo>
                  <a:pt x="523842" y="350850"/>
                </a:moveTo>
                <a:cubicBezTo>
                  <a:pt x="542159" y="290627"/>
                  <a:pt x="580920" y="281839"/>
                  <a:pt x="607933" y="291182"/>
                </a:cubicBezTo>
                <a:cubicBezTo>
                  <a:pt x="621809" y="316159"/>
                  <a:pt x="619867" y="355846"/>
                  <a:pt x="563806" y="384431"/>
                </a:cubicBezTo>
                <a:cubicBezTo>
                  <a:pt x="551595" y="390629"/>
                  <a:pt x="537256" y="393312"/>
                  <a:pt x="522732" y="392757"/>
                </a:cubicBezTo>
                <a:cubicBezTo>
                  <a:pt x="519772" y="378510"/>
                  <a:pt x="519864" y="363986"/>
                  <a:pt x="523842" y="350850"/>
                </a:cubicBezTo>
                <a:close/>
                <a:moveTo>
                  <a:pt x="124203" y="1028756"/>
                </a:moveTo>
                <a:cubicBezTo>
                  <a:pt x="200246" y="998136"/>
                  <a:pt x="309591" y="986664"/>
                  <a:pt x="422822" y="1081394"/>
                </a:cubicBezTo>
                <a:cubicBezTo>
                  <a:pt x="284059" y="1131719"/>
                  <a:pt x="185167" y="1083521"/>
                  <a:pt x="124203" y="1028756"/>
                </a:cubicBezTo>
                <a:close/>
                <a:moveTo>
                  <a:pt x="262504" y="1146798"/>
                </a:moveTo>
                <a:cubicBezTo>
                  <a:pt x="260469" y="1148648"/>
                  <a:pt x="258526" y="1150498"/>
                  <a:pt x="256584" y="1152441"/>
                </a:cubicBezTo>
                <a:cubicBezTo>
                  <a:pt x="255844" y="1155031"/>
                  <a:pt x="255288" y="1157714"/>
                  <a:pt x="254641" y="1160304"/>
                </a:cubicBezTo>
                <a:cubicBezTo>
                  <a:pt x="248905" y="1153551"/>
                  <a:pt x="243077" y="1147168"/>
                  <a:pt x="237157" y="1141247"/>
                </a:cubicBezTo>
                <a:cubicBezTo>
                  <a:pt x="245297" y="1143282"/>
                  <a:pt x="253716" y="1145132"/>
                  <a:pt x="262504" y="1146798"/>
                </a:cubicBezTo>
                <a:close/>
                <a:moveTo>
                  <a:pt x="294512" y="965110"/>
                </a:moveTo>
                <a:cubicBezTo>
                  <a:pt x="285724" y="963630"/>
                  <a:pt x="277213" y="962520"/>
                  <a:pt x="268887" y="961687"/>
                </a:cubicBezTo>
                <a:cubicBezTo>
                  <a:pt x="276473" y="958079"/>
                  <a:pt x="284059" y="954101"/>
                  <a:pt x="291830" y="949753"/>
                </a:cubicBezTo>
                <a:cubicBezTo>
                  <a:pt x="291459" y="952436"/>
                  <a:pt x="291182" y="955119"/>
                  <a:pt x="290904" y="957802"/>
                </a:cubicBezTo>
                <a:cubicBezTo>
                  <a:pt x="292015" y="960299"/>
                  <a:pt x="293217" y="962705"/>
                  <a:pt x="294512" y="965110"/>
                </a:cubicBezTo>
                <a:close/>
                <a:moveTo>
                  <a:pt x="359731" y="945683"/>
                </a:moveTo>
                <a:cubicBezTo>
                  <a:pt x="360749" y="942630"/>
                  <a:pt x="361766" y="939577"/>
                  <a:pt x="362969" y="936432"/>
                </a:cubicBezTo>
                <a:cubicBezTo>
                  <a:pt x="363802" y="939207"/>
                  <a:pt x="364727" y="941983"/>
                  <a:pt x="365837" y="944666"/>
                </a:cubicBezTo>
                <a:cubicBezTo>
                  <a:pt x="365744" y="947533"/>
                  <a:pt x="365744" y="950493"/>
                  <a:pt x="365929" y="953361"/>
                </a:cubicBezTo>
                <a:cubicBezTo>
                  <a:pt x="363709" y="950771"/>
                  <a:pt x="361674" y="948273"/>
                  <a:pt x="359731" y="945683"/>
                </a:cubicBezTo>
                <a:close/>
                <a:moveTo>
                  <a:pt x="316899" y="1197122"/>
                </a:moveTo>
                <a:cubicBezTo>
                  <a:pt x="316899" y="1193792"/>
                  <a:pt x="316899" y="1190462"/>
                  <a:pt x="317084" y="1187317"/>
                </a:cubicBezTo>
                <a:cubicBezTo>
                  <a:pt x="319767" y="1185651"/>
                  <a:pt x="322635" y="1183894"/>
                  <a:pt x="325503" y="1182229"/>
                </a:cubicBezTo>
                <a:cubicBezTo>
                  <a:pt x="324300" y="1184911"/>
                  <a:pt x="323283" y="1187594"/>
                  <a:pt x="322450" y="1190369"/>
                </a:cubicBezTo>
                <a:cubicBezTo>
                  <a:pt x="320507" y="1192497"/>
                  <a:pt x="318657" y="1194810"/>
                  <a:pt x="316899" y="1197122"/>
                </a:cubicBezTo>
                <a:close/>
                <a:moveTo>
                  <a:pt x="512463" y="1300085"/>
                </a:moveTo>
                <a:cubicBezTo>
                  <a:pt x="476107" y="1319512"/>
                  <a:pt x="432628" y="1329595"/>
                  <a:pt x="396180" y="1325803"/>
                </a:cubicBezTo>
                <a:cubicBezTo>
                  <a:pt x="337159" y="1319697"/>
                  <a:pt x="289424" y="1266782"/>
                  <a:pt x="358806" y="1211369"/>
                </a:cubicBezTo>
                <a:cubicBezTo>
                  <a:pt x="372127" y="1123578"/>
                  <a:pt x="441787" y="1138472"/>
                  <a:pt x="476570" y="1186484"/>
                </a:cubicBezTo>
                <a:cubicBezTo>
                  <a:pt x="498032" y="1216272"/>
                  <a:pt x="511076" y="1258826"/>
                  <a:pt x="512463" y="1300085"/>
                </a:cubicBezTo>
                <a:close/>
                <a:moveTo>
                  <a:pt x="481380" y="842628"/>
                </a:moveTo>
                <a:cubicBezTo>
                  <a:pt x="516904" y="851509"/>
                  <a:pt x="554278" y="875839"/>
                  <a:pt x="581845" y="906552"/>
                </a:cubicBezTo>
                <a:cubicBezTo>
                  <a:pt x="566489" y="944851"/>
                  <a:pt x="539661" y="980467"/>
                  <a:pt x="509318" y="1001004"/>
                </a:cubicBezTo>
                <a:cubicBezTo>
                  <a:pt x="460196" y="1034307"/>
                  <a:pt x="389612" y="1024408"/>
                  <a:pt x="407188" y="937357"/>
                </a:cubicBezTo>
                <a:cubicBezTo>
                  <a:pt x="360934" y="861592"/>
                  <a:pt x="423840" y="828197"/>
                  <a:pt x="481380" y="842628"/>
                </a:cubicBezTo>
                <a:close/>
                <a:moveTo>
                  <a:pt x="263984" y="576110"/>
                </a:moveTo>
                <a:cubicBezTo>
                  <a:pt x="296918" y="560106"/>
                  <a:pt x="341229" y="554647"/>
                  <a:pt x="382026" y="560476"/>
                </a:cubicBezTo>
                <a:cubicBezTo>
                  <a:pt x="394885" y="599699"/>
                  <a:pt x="397197" y="644196"/>
                  <a:pt x="387114" y="679442"/>
                </a:cubicBezTo>
                <a:cubicBezTo>
                  <a:pt x="370832" y="736520"/>
                  <a:pt x="310516" y="774264"/>
                  <a:pt x="267962" y="696371"/>
                </a:cubicBezTo>
                <a:cubicBezTo>
                  <a:pt x="183872" y="668064"/>
                  <a:pt x="210607" y="602012"/>
                  <a:pt x="263984" y="576110"/>
                </a:cubicBezTo>
                <a:close/>
                <a:moveTo>
                  <a:pt x="246685" y="735133"/>
                </a:moveTo>
                <a:cubicBezTo>
                  <a:pt x="243355" y="734578"/>
                  <a:pt x="240117" y="733930"/>
                  <a:pt x="237064" y="733282"/>
                </a:cubicBezTo>
                <a:cubicBezTo>
                  <a:pt x="235862" y="730322"/>
                  <a:pt x="234659" y="727269"/>
                  <a:pt x="233549" y="724124"/>
                </a:cubicBezTo>
                <a:cubicBezTo>
                  <a:pt x="235954" y="725697"/>
                  <a:pt x="238452" y="727177"/>
                  <a:pt x="241042" y="728564"/>
                </a:cubicBezTo>
                <a:cubicBezTo>
                  <a:pt x="242800" y="730877"/>
                  <a:pt x="244650" y="733005"/>
                  <a:pt x="246685" y="735133"/>
                </a:cubicBezTo>
                <a:close/>
                <a:moveTo>
                  <a:pt x="187664" y="779999"/>
                </a:moveTo>
                <a:cubicBezTo>
                  <a:pt x="189145" y="782312"/>
                  <a:pt x="190625" y="784532"/>
                  <a:pt x="192197" y="786753"/>
                </a:cubicBezTo>
                <a:cubicBezTo>
                  <a:pt x="194603" y="787863"/>
                  <a:pt x="197100" y="788973"/>
                  <a:pt x="199691" y="789990"/>
                </a:cubicBezTo>
                <a:cubicBezTo>
                  <a:pt x="192012" y="794523"/>
                  <a:pt x="184797" y="799149"/>
                  <a:pt x="177858" y="803867"/>
                </a:cubicBezTo>
                <a:cubicBezTo>
                  <a:pt x="181189" y="796281"/>
                  <a:pt x="184519" y="788325"/>
                  <a:pt x="187664" y="779999"/>
                </a:cubicBezTo>
                <a:close/>
                <a:moveTo>
                  <a:pt x="372590" y="796651"/>
                </a:moveTo>
                <a:cubicBezTo>
                  <a:pt x="298675" y="924406"/>
                  <a:pt x="192012" y="951048"/>
                  <a:pt x="110049" y="948273"/>
                </a:cubicBezTo>
                <a:cubicBezTo>
                  <a:pt x="148533" y="875931"/>
                  <a:pt x="225038" y="796836"/>
                  <a:pt x="372590" y="796651"/>
                </a:cubicBezTo>
                <a:close/>
                <a:moveTo>
                  <a:pt x="47421" y="895728"/>
                </a:moveTo>
                <a:cubicBezTo>
                  <a:pt x="30492" y="815523"/>
                  <a:pt x="38170" y="705807"/>
                  <a:pt x="151123" y="610801"/>
                </a:cubicBezTo>
                <a:cubicBezTo>
                  <a:pt x="176563" y="756132"/>
                  <a:pt x="111992" y="845218"/>
                  <a:pt x="47421" y="895728"/>
                </a:cubicBezTo>
                <a:close/>
                <a:moveTo>
                  <a:pt x="278231" y="1331816"/>
                </a:moveTo>
                <a:cubicBezTo>
                  <a:pt x="139652" y="1281213"/>
                  <a:pt x="94785" y="1180748"/>
                  <a:pt x="83314" y="1099526"/>
                </a:cubicBezTo>
                <a:cubicBezTo>
                  <a:pt x="161299" y="1124966"/>
                  <a:pt x="252421" y="1186484"/>
                  <a:pt x="278231" y="1331816"/>
                </a:cubicBezTo>
                <a:close/>
                <a:moveTo>
                  <a:pt x="138912" y="1346524"/>
                </a:moveTo>
                <a:cubicBezTo>
                  <a:pt x="136322" y="1347820"/>
                  <a:pt x="133732" y="1349207"/>
                  <a:pt x="131326" y="1350780"/>
                </a:cubicBezTo>
                <a:cubicBezTo>
                  <a:pt x="128459" y="1351150"/>
                  <a:pt x="125591" y="1351705"/>
                  <a:pt x="122816" y="1352353"/>
                </a:cubicBezTo>
                <a:cubicBezTo>
                  <a:pt x="124943" y="1349762"/>
                  <a:pt x="127071" y="1347265"/>
                  <a:pt x="129291" y="1344952"/>
                </a:cubicBezTo>
                <a:cubicBezTo>
                  <a:pt x="132344" y="1345414"/>
                  <a:pt x="135582" y="1345969"/>
                  <a:pt x="138912" y="1346524"/>
                </a:cubicBezTo>
                <a:close/>
                <a:moveTo>
                  <a:pt x="113380" y="1278808"/>
                </a:moveTo>
                <a:cubicBezTo>
                  <a:pt x="110697" y="1278900"/>
                  <a:pt x="107922" y="1279086"/>
                  <a:pt x="105239" y="1279270"/>
                </a:cubicBezTo>
                <a:cubicBezTo>
                  <a:pt x="103019" y="1280843"/>
                  <a:pt x="100891" y="1282416"/>
                  <a:pt x="98671" y="1284081"/>
                </a:cubicBezTo>
                <a:cubicBezTo>
                  <a:pt x="98578" y="1275200"/>
                  <a:pt x="98208" y="1266597"/>
                  <a:pt x="97561" y="1258271"/>
                </a:cubicBezTo>
                <a:cubicBezTo>
                  <a:pt x="102464" y="1265117"/>
                  <a:pt x="107737" y="1271962"/>
                  <a:pt x="113380" y="1278808"/>
                </a:cubicBezTo>
                <a:close/>
                <a:moveTo>
                  <a:pt x="145665" y="1390281"/>
                </a:moveTo>
                <a:cubicBezTo>
                  <a:pt x="212272" y="1331538"/>
                  <a:pt x="256029" y="1387691"/>
                  <a:pt x="251866" y="1446897"/>
                </a:cubicBezTo>
                <a:cubicBezTo>
                  <a:pt x="249275" y="1483438"/>
                  <a:pt x="231791" y="1524512"/>
                  <a:pt x="206351" y="1556890"/>
                </a:cubicBezTo>
                <a:cubicBezTo>
                  <a:pt x="166017" y="1548379"/>
                  <a:pt x="126238" y="1528212"/>
                  <a:pt x="100798" y="1501847"/>
                </a:cubicBezTo>
                <a:cubicBezTo>
                  <a:pt x="59447" y="1459293"/>
                  <a:pt x="56857" y="1388153"/>
                  <a:pt x="145665" y="139028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1" name="Freeform: Shape 560">
            <a:extLst>
              <a:ext uri="{FF2B5EF4-FFF2-40B4-BE49-F238E27FC236}">
                <a16:creationId xmlns="" xmlns:a16="http://schemas.microsoft.com/office/drawing/2014/main" id="{54D4B233-2A30-442D-956F-A33DEE031FB3}"/>
              </a:ext>
            </a:extLst>
          </p:cNvPr>
          <p:cNvSpPr/>
          <p:nvPr/>
        </p:nvSpPr>
        <p:spPr>
          <a:xfrm>
            <a:off x="904219" y="2127707"/>
            <a:ext cx="27753" cy="101760"/>
          </a:xfrm>
          <a:custGeom>
            <a:avLst/>
            <a:gdLst>
              <a:gd name="connsiteX0" fmla="*/ 27809 w 27752"/>
              <a:gd name="connsiteY0" fmla="*/ 6717 h 101759"/>
              <a:gd name="connsiteX1" fmla="*/ 27809 w 27752"/>
              <a:gd name="connsiteY1" fmla="*/ 6717 h 101759"/>
              <a:gd name="connsiteX2" fmla="*/ 6717 w 27752"/>
              <a:gd name="connsiteY2" fmla="*/ 100983 h 101759"/>
              <a:gd name="connsiteX3" fmla="*/ 27809 w 27752"/>
              <a:gd name="connsiteY3" fmla="*/ 6717 h 101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101759">
                <a:moveTo>
                  <a:pt x="27809" y="6717"/>
                </a:moveTo>
                <a:cubicBezTo>
                  <a:pt x="27809" y="6717"/>
                  <a:pt x="27809" y="6717"/>
                  <a:pt x="27809" y="6717"/>
                </a:cubicBezTo>
                <a:cubicBezTo>
                  <a:pt x="27531" y="36967"/>
                  <a:pt x="22258" y="71196"/>
                  <a:pt x="6717" y="100983"/>
                </a:cubicBezTo>
                <a:cubicBezTo>
                  <a:pt x="22258" y="71196"/>
                  <a:pt x="27531" y="36967"/>
                  <a:pt x="27809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2" name="Freeform: Shape 561">
            <a:extLst>
              <a:ext uri="{FF2B5EF4-FFF2-40B4-BE49-F238E27FC236}">
                <a16:creationId xmlns="" xmlns:a16="http://schemas.microsoft.com/office/drawing/2014/main" id="{DEC22474-740A-4B1C-99C5-2B5DEC21A89E}"/>
              </a:ext>
            </a:extLst>
          </p:cNvPr>
          <p:cNvSpPr/>
          <p:nvPr/>
        </p:nvSpPr>
        <p:spPr>
          <a:xfrm>
            <a:off x="684141" y="1865352"/>
            <a:ext cx="101760" cy="64756"/>
          </a:xfrm>
          <a:custGeom>
            <a:avLst/>
            <a:gdLst>
              <a:gd name="connsiteX0" fmla="*/ 96450 w 101759"/>
              <a:gd name="connsiteY0" fmla="*/ 6717 h 64756"/>
              <a:gd name="connsiteX1" fmla="*/ 96450 w 101759"/>
              <a:gd name="connsiteY1" fmla="*/ 6717 h 64756"/>
              <a:gd name="connsiteX2" fmla="*/ 6717 w 101759"/>
              <a:gd name="connsiteY2" fmla="*/ 60835 h 64756"/>
              <a:gd name="connsiteX3" fmla="*/ 96450 w 101759"/>
              <a:gd name="connsiteY3" fmla="*/ 6717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59" h="64756">
                <a:moveTo>
                  <a:pt x="96450" y="6717"/>
                </a:moveTo>
                <a:cubicBezTo>
                  <a:pt x="96450" y="6717"/>
                  <a:pt x="96450" y="6717"/>
                  <a:pt x="96450" y="6717"/>
                </a:cubicBezTo>
                <a:cubicBezTo>
                  <a:pt x="73046" y="29659"/>
                  <a:pt x="42240" y="51769"/>
                  <a:pt x="6717" y="60835"/>
                </a:cubicBezTo>
                <a:cubicBezTo>
                  <a:pt x="42240" y="51769"/>
                  <a:pt x="73046" y="29659"/>
                  <a:pt x="96450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3" name="Freeform: Shape 562">
            <a:extLst>
              <a:ext uri="{FF2B5EF4-FFF2-40B4-BE49-F238E27FC236}">
                <a16:creationId xmlns="" xmlns:a16="http://schemas.microsoft.com/office/drawing/2014/main" id="{E2146C6C-88EF-47BB-B2EC-15A3FD219A92}"/>
              </a:ext>
            </a:extLst>
          </p:cNvPr>
          <p:cNvSpPr/>
          <p:nvPr/>
        </p:nvSpPr>
        <p:spPr>
          <a:xfrm>
            <a:off x="400508" y="3335320"/>
            <a:ext cx="27753" cy="18502"/>
          </a:xfrm>
          <a:custGeom>
            <a:avLst/>
            <a:gdLst>
              <a:gd name="connsiteX0" fmla="*/ 22536 w 27752"/>
              <a:gd name="connsiteY0" fmla="*/ 12730 h 18501"/>
              <a:gd name="connsiteX1" fmla="*/ 6717 w 27752"/>
              <a:gd name="connsiteY1" fmla="*/ 6717 h 18501"/>
              <a:gd name="connsiteX2" fmla="*/ 22536 w 27752"/>
              <a:gd name="connsiteY2" fmla="*/ 1273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18501">
                <a:moveTo>
                  <a:pt x="22536" y="12730"/>
                </a:moveTo>
                <a:cubicBezTo>
                  <a:pt x="17170" y="11065"/>
                  <a:pt x="11897" y="9029"/>
                  <a:pt x="6717" y="6717"/>
                </a:cubicBezTo>
                <a:cubicBezTo>
                  <a:pt x="11897" y="9122"/>
                  <a:pt x="17170" y="11065"/>
                  <a:pt x="22536" y="1273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4" name="Freeform: Shape 563">
            <a:extLst>
              <a:ext uri="{FF2B5EF4-FFF2-40B4-BE49-F238E27FC236}">
                <a16:creationId xmlns="" xmlns:a16="http://schemas.microsoft.com/office/drawing/2014/main" id="{F769E8CE-C2BE-40A0-8415-A2B709D7FFB8}"/>
              </a:ext>
            </a:extLst>
          </p:cNvPr>
          <p:cNvSpPr/>
          <p:nvPr/>
        </p:nvSpPr>
        <p:spPr>
          <a:xfrm>
            <a:off x="672854" y="3064268"/>
            <a:ext cx="18502" cy="27753"/>
          </a:xfrm>
          <a:custGeom>
            <a:avLst/>
            <a:gdLst>
              <a:gd name="connsiteX0" fmla="*/ 17725 w 18501"/>
              <a:gd name="connsiteY0" fmla="*/ 29474 h 27752"/>
              <a:gd name="connsiteX1" fmla="*/ 6717 w 18501"/>
              <a:gd name="connsiteY1" fmla="*/ 6717 h 27752"/>
              <a:gd name="connsiteX2" fmla="*/ 17725 w 18501"/>
              <a:gd name="connsiteY2" fmla="*/ 29474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27752">
                <a:moveTo>
                  <a:pt x="17725" y="29474"/>
                </a:moveTo>
                <a:cubicBezTo>
                  <a:pt x="13470" y="22258"/>
                  <a:pt x="9770" y="14673"/>
                  <a:pt x="6717" y="6717"/>
                </a:cubicBezTo>
                <a:cubicBezTo>
                  <a:pt x="9677" y="14673"/>
                  <a:pt x="13470" y="22258"/>
                  <a:pt x="17725" y="2947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5" name="Freeform: Shape 564">
            <a:extLst>
              <a:ext uri="{FF2B5EF4-FFF2-40B4-BE49-F238E27FC236}">
                <a16:creationId xmlns="" xmlns:a16="http://schemas.microsoft.com/office/drawing/2014/main" id="{9E9F916E-8DB0-4C46-818C-4A060AED1929}"/>
              </a:ext>
            </a:extLst>
          </p:cNvPr>
          <p:cNvSpPr/>
          <p:nvPr/>
        </p:nvSpPr>
        <p:spPr>
          <a:xfrm>
            <a:off x="149994" y="1510025"/>
            <a:ext cx="46255" cy="111011"/>
          </a:xfrm>
          <a:custGeom>
            <a:avLst/>
            <a:gdLst>
              <a:gd name="connsiteX0" fmla="*/ 45848 w 46254"/>
              <a:gd name="connsiteY0" fmla="*/ 6717 h 111010"/>
              <a:gd name="connsiteX1" fmla="*/ 45848 w 46254"/>
              <a:gd name="connsiteY1" fmla="*/ 6717 h 111010"/>
              <a:gd name="connsiteX2" fmla="*/ 6717 w 46254"/>
              <a:gd name="connsiteY2" fmla="*/ 112547 h 111010"/>
              <a:gd name="connsiteX3" fmla="*/ 45848 w 46254"/>
              <a:gd name="connsiteY3" fmla="*/ 6717 h 111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111010">
                <a:moveTo>
                  <a:pt x="45848" y="6717"/>
                </a:moveTo>
                <a:cubicBezTo>
                  <a:pt x="45848" y="6717"/>
                  <a:pt x="45848" y="6717"/>
                  <a:pt x="45848" y="6717"/>
                </a:cubicBezTo>
                <a:cubicBezTo>
                  <a:pt x="42425" y="41778"/>
                  <a:pt x="31787" y="81742"/>
                  <a:pt x="6717" y="112547"/>
                </a:cubicBezTo>
                <a:cubicBezTo>
                  <a:pt x="31787" y="81742"/>
                  <a:pt x="42425" y="41778"/>
                  <a:pt x="45848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6" name="Freeform: Shape 565">
            <a:extLst>
              <a:ext uri="{FF2B5EF4-FFF2-40B4-BE49-F238E27FC236}">
                <a16:creationId xmlns="" xmlns:a16="http://schemas.microsoft.com/office/drawing/2014/main" id="{011C2F38-431C-421D-826D-833E64122FAB}"/>
              </a:ext>
            </a:extLst>
          </p:cNvPr>
          <p:cNvSpPr/>
          <p:nvPr/>
        </p:nvSpPr>
        <p:spPr>
          <a:xfrm>
            <a:off x="473775" y="1613635"/>
            <a:ext cx="46255" cy="74007"/>
          </a:xfrm>
          <a:custGeom>
            <a:avLst/>
            <a:gdLst>
              <a:gd name="connsiteX0" fmla="*/ 6717 w 46254"/>
              <a:gd name="connsiteY0" fmla="*/ 6717 h 74007"/>
              <a:gd name="connsiteX1" fmla="*/ 6717 w 46254"/>
              <a:gd name="connsiteY1" fmla="*/ 6717 h 74007"/>
              <a:gd name="connsiteX2" fmla="*/ 46681 w 46254"/>
              <a:gd name="connsiteY2" fmla="*/ 76376 h 74007"/>
              <a:gd name="connsiteX3" fmla="*/ 6717 w 46254"/>
              <a:gd name="connsiteY3" fmla="*/ 6717 h 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74007">
                <a:moveTo>
                  <a:pt x="6717" y="6717"/>
                </a:moveTo>
                <a:cubicBezTo>
                  <a:pt x="6717" y="6717"/>
                  <a:pt x="6717" y="6717"/>
                  <a:pt x="6717" y="6717"/>
                </a:cubicBezTo>
                <a:cubicBezTo>
                  <a:pt x="22721" y="26144"/>
                  <a:pt x="37892" y="49919"/>
                  <a:pt x="46681" y="76376"/>
                </a:cubicBezTo>
                <a:cubicBezTo>
                  <a:pt x="37892" y="49919"/>
                  <a:pt x="22721" y="26144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7" name="Freeform: Shape 566">
            <a:extLst>
              <a:ext uri="{FF2B5EF4-FFF2-40B4-BE49-F238E27FC236}">
                <a16:creationId xmlns="" xmlns:a16="http://schemas.microsoft.com/office/drawing/2014/main" id="{E47C3739-43C7-4F63-8EE5-67AC3AC793F5}"/>
              </a:ext>
            </a:extLst>
          </p:cNvPr>
          <p:cNvSpPr/>
          <p:nvPr/>
        </p:nvSpPr>
        <p:spPr>
          <a:xfrm>
            <a:off x="897559" y="2500703"/>
            <a:ext cx="101760" cy="18502"/>
          </a:xfrm>
          <a:custGeom>
            <a:avLst/>
            <a:gdLst>
              <a:gd name="connsiteX0" fmla="*/ 6717 w 101759"/>
              <a:gd name="connsiteY0" fmla="*/ 6717 h 18501"/>
              <a:gd name="connsiteX1" fmla="*/ 102464 w 101759"/>
              <a:gd name="connsiteY1" fmla="*/ 19483 h 18501"/>
              <a:gd name="connsiteX2" fmla="*/ 102464 w 101759"/>
              <a:gd name="connsiteY2" fmla="*/ 19483 h 18501"/>
              <a:gd name="connsiteX3" fmla="*/ 6717 w 101759"/>
              <a:gd name="connsiteY3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59" h="18501">
                <a:moveTo>
                  <a:pt x="6717" y="6717"/>
                </a:moveTo>
                <a:cubicBezTo>
                  <a:pt x="37800" y="19575"/>
                  <a:pt x="72398" y="21888"/>
                  <a:pt x="102464" y="19483"/>
                </a:cubicBezTo>
                <a:cubicBezTo>
                  <a:pt x="102464" y="19483"/>
                  <a:pt x="102464" y="19483"/>
                  <a:pt x="102464" y="19483"/>
                </a:cubicBezTo>
                <a:cubicBezTo>
                  <a:pt x="72398" y="21888"/>
                  <a:pt x="37800" y="1957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8" name="Freeform: Shape 567">
            <a:extLst>
              <a:ext uri="{FF2B5EF4-FFF2-40B4-BE49-F238E27FC236}">
                <a16:creationId xmlns="" xmlns:a16="http://schemas.microsoft.com/office/drawing/2014/main" id="{C752F618-6C4F-4041-8454-A5A851827186}"/>
              </a:ext>
            </a:extLst>
          </p:cNvPr>
          <p:cNvSpPr/>
          <p:nvPr/>
        </p:nvSpPr>
        <p:spPr>
          <a:xfrm>
            <a:off x="683863" y="3087025"/>
            <a:ext cx="74007" cy="74007"/>
          </a:xfrm>
          <a:custGeom>
            <a:avLst/>
            <a:gdLst>
              <a:gd name="connsiteX0" fmla="*/ 6717 w 74007"/>
              <a:gd name="connsiteY0" fmla="*/ 6717 h 74007"/>
              <a:gd name="connsiteX1" fmla="*/ 67773 w 74007"/>
              <a:gd name="connsiteY1" fmla="*/ 70733 h 74007"/>
              <a:gd name="connsiteX2" fmla="*/ 67773 w 74007"/>
              <a:gd name="connsiteY2" fmla="*/ 70733 h 74007"/>
              <a:gd name="connsiteX3" fmla="*/ 6717 w 74007"/>
              <a:gd name="connsiteY3" fmla="*/ 6717 h 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07" h="74007">
                <a:moveTo>
                  <a:pt x="6717" y="6717"/>
                </a:moveTo>
                <a:cubicBezTo>
                  <a:pt x="22351" y="33174"/>
                  <a:pt x="45200" y="54636"/>
                  <a:pt x="67773" y="70733"/>
                </a:cubicBezTo>
                <a:cubicBezTo>
                  <a:pt x="67773" y="70733"/>
                  <a:pt x="67773" y="70733"/>
                  <a:pt x="67773" y="70733"/>
                </a:cubicBezTo>
                <a:cubicBezTo>
                  <a:pt x="45200" y="54636"/>
                  <a:pt x="22351" y="33174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69" name="Freeform: Shape 568">
            <a:extLst>
              <a:ext uri="{FF2B5EF4-FFF2-40B4-BE49-F238E27FC236}">
                <a16:creationId xmlns="" xmlns:a16="http://schemas.microsoft.com/office/drawing/2014/main" id="{371983BF-CC53-4FD7-B530-5DBD61E684C6}"/>
              </a:ext>
            </a:extLst>
          </p:cNvPr>
          <p:cNvSpPr/>
          <p:nvPr/>
        </p:nvSpPr>
        <p:spPr>
          <a:xfrm>
            <a:off x="137967" y="3375006"/>
            <a:ext cx="9251" cy="37004"/>
          </a:xfrm>
          <a:custGeom>
            <a:avLst/>
            <a:gdLst>
              <a:gd name="connsiteX0" fmla="*/ 6717 w 9250"/>
              <a:gd name="connsiteY0" fmla="*/ 31417 h 37003"/>
              <a:gd name="connsiteX1" fmla="*/ 11527 w 9250"/>
              <a:gd name="connsiteY1" fmla="*/ 6717 h 37003"/>
              <a:gd name="connsiteX2" fmla="*/ 6717 w 9250"/>
              <a:gd name="connsiteY2" fmla="*/ 314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37003">
                <a:moveTo>
                  <a:pt x="6717" y="31417"/>
                </a:moveTo>
                <a:cubicBezTo>
                  <a:pt x="7642" y="23091"/>
                  <a:pt x="9214" y="14858"/>
                  <a:pt x="11527" y="6717"/>
                </a:cubicBezTo>
                <a:cubicBezTo>
                  <a:pt x="9214" y="14858"/>
                  <a:pt x="7642" y="23091"/>
                  <a:pt x="6717" y="314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0" name="Freeform: Shape 569">
            <a:extLst>
              <a:ext uri="{FF2B5EF4-FFF2-40B4-BE49-F238E27FC236}">
                <a16:creationId xmlns="" xmlns:a16="http://schemas.microsoft.com/office/drawing/2014/main" id="{60647E60-407A-41F3-B774-BC576138951E}"/>
              </a:ext>
            </a:extLst>
          </p:cNvPr>
          <p:cNvSpPr/>
          <p:nvPr/>
        </p:nvSpPr>
        <p:spPr>
          <a:xfrm>
            <a:off x="416327" y="3341333"/>
            <a:ext cx="101760" cy="18502"/>
          </a:xfrm>
          <a:custGeom>
            <a:avLst/>
            <a:gdLst>
              <a:gd name="connsiteX0" fmla="*/ 6717 w 101759"/>
              <a:gd name="connsiteY0" fmla="*/ 6717 h 18501"/>
              <a:gd name="connsiteX1" fmla="*/ 103204 w 101759"/>
              <a:gd name="connsiteY1" fmla="*/ 11157 h 18501"/>
              <a:gd name="connsiteX2" fmla="*/ 103204 w 101759"/>
              <a:gd name="connsiteY2" fmla="*/ 11157 h 18501"/>
              <a:gd name="connsiteX3" fmla="*/ 6717 w 101759"/>
              <a:gd name="connsiteY3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59" h="18501">
                <a:moveTo>
                  <a:pt x="6717" y="6717"/>
                </a:moveTo>
                <a:cubicBezTo>
                  <a:pt x="38817" y="16800"/>
                  <a:pt x="73416" y="16060"/>
                  <a:pt x="103204" y="11157"/>
                </a:cubicBezTo>
                <a:cubicBezTo>
                  <a:pt x="103204" y="11157"/>
                  <a:pt x="103204" y="11157"/>
                  <a:pt x="103204" y="11157"/>
                </a:cubicBezTo>
                <a:cubicBezTo>
                  <a:pt x="73416" y="16153"/>
                  <a:pt x="38817" y="16893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1" name="Freeform: Shape 570">
            <a:extLst>
              <a:ext uri="{FF2B5EF4-FFF2-40B4-BE49-F238E27FC236}">
                <a16:creationId xmlns="" xmlns:a16="http://schemas.microsoft.com/office/drawing/2014/main" id="{65DDA82A-8E1D-46E0-97EB-17F5F9358F29}"/>
              </a:ext>
            </a:extLst>
          </p:cNvPr>
          <p:cNvSpPr/>
          <p:nvPr/>
        </p:nvSpPr>
        <p:spPr>
          <a:xfrm>
            <a:off x="863978" y="2811811"/>
            <a:ext cx="83258" cy="64756"/>
          </a:xfrm>
          <a:custGeom>
            <a:avLst/>
            <a:gdLst>
              <a:gd name="connsiteX0" fmla="*/ 6717 w 83258"/>
              <a:gd name="connsiteY0" fmla="*/ 65367 h 64756"/>
              <a:gd name="connsiteX1" fmla="*/ 83499 w 83258"/>
              <a:gd name="connsiteY1" fmla="*/ 6717 h 64756"/>
              <a:gd name="connsiteX2" fmla="*/ 83499 w 83258"/>
              <a:gd name="connsiteY2" fmla="*/ 6717 h 64756"/>
              <a:gd name="connsiteX3" fmla="*/ 6717 w 83258"/>
              <a:gd name="connsiteY3" fmla="*/ 65367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58" h="64756">
                <a:moveTo>
                  <a:pt x="6717" y="65367"/>
                </a:moveTo>
                <a:cubicBezTo>
                  <a:pt x="37800" y="52509"/>
                  <a:pt x="63887" y="29659"/>
                  <a:pt x="83499" y="6717"/>
                </a:cubicBezTo>
                <a:cubicBezTo>
                  <a:pt x="83499" y="6717"/>
                  <a:pt x="83499" y="6717"/>
                  <a:pt x="83499" y="6717"/>
                </a:cubicBezTo>
                <a:cubicBezTo>
                  <a:pt x="63795" y="29659"/>
                  <a:pt x="37800" y="52509"/>
                  <a:pt x="6717" y="6536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2" name="Freeform: Shape 571">
            <a:extLst>
              <a:ext uri="{FF2B5EF4-FFF2-40B4-BE49-F238E27FC236}">
                <a16:creationId xmlns="" xmlns:a16="http://schemas.microsoft.com/office/drawing/2014/main" id="{A0E55358-7FD2-45D2-A5D6-5CFDF19BD170}"/>
              </a:ext>
            </a:extLst>
          </p:cNvPr>
          <p:cNvSpPr/>
          <p:nvPr/>
        </p:nvSpPr>
        <p:spPr>
          <a:xfrm>
            <a:off x="136811" y="3399706"/>
            <a:ext cx="18502" cy="92509"/>
          </a:xfrm>
          <a:custGeom>
            <a:avLst/>
            <a:gdLst>
              <a:gd name="connsiteX0" fmla="*/ 7873 w 18501"/>
              <a:gd name="connsiteY0" fmla="*/ 6717 h 92508"/>
              <a:gd name="connsiteX1" fmla="*/ 14626 w 18501"/>
              <a:gd name="connsiteY1" fmla="*/ 86737 h 92508"/>
              <a:gd name="connsiteX2" fmla="*/ 14626 w 18501"/>
              <a:gd name="connsiteY2" fmla="*/ 86737 h 92508"/>
              <a:gd name="connsiteX3" fmla="*/ 7873 w 18501"/>
              <a:gd name="connsiteY3" fmla="*/ 6717 h 9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92508">
                <a:moveTo>
                  <a:pt x="7873" y="6717"/>
                </a:moveTo>
                <a:cubicBezTo>
                  <a:pt x="4728" y="34377"/>
                  <a:pt x="8336" y="62315"/>
                  <a:pt x="14626" y="86737"/>
                </a:cubicBezTo>
                <a:cubicBezTo>
                  <a:pt x="14626" y="86737"/>
                  <a:pt x="14626" y="86737"/>
                  <a:pt x="14626" y="86737"/>
                </a:cubicBezTo>
                <a:cubicBezTo>
                  <a:pt x="8336" y="62407"/>
                  <a:pt x="4728" y="34377"/>
                  <a:pt x="7873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3" name="Freeform: Shape 572">
            <a:extLst>
              <a:ext uri="{FF2B5EF4-FFF2-40B4-BE49-F238E27FC236}">
                <a16:creationId xmlns="" xmlns:a16="http://schemas.microsoft.com/office/drawing/2014/main" id="{B90E732F-468C-440D-B6BB-D4D79E2BB9B8}"/>
              </a:ext>
            </a:extLst>
          </p:cNvPr>
          <p:cNvSpPr/>
          <p:nvPr/>
        </p:nvSpPr>
        <p:spPr>
          <a:xfrm>
            <a:off x="748342" y="1485510"/>
            <a:ext cx="111011" cy="92509"/>
          </a:xfrm>
          <a:custGeom>
            <a:avLst/>
            <a:gdLst>
              <a:gd name="connsiteX0" fmla="*/ 33359 w 111010"/>
              <a:gd name="connsiteY0" fmla="*/ 80539 h 92508"/>
              <a:gd name="connsiteX1" fmla="*/ 110604 w 111010"/>
              <a:gd name="connsiteY1" fmla="*/ 93953 h 92508"/>
              <a:gd name="connsiteX2" fmla="*/ 79521 w 111010"/>
              <a:gd name="connsiteY2" fmla="*/ 25496 h 92508"/>
              <a:gd name="connsiteX3" fmla="*/ 61482 w 111010"/>
              <a:gd name="connsiteY3" fmla="*/ 18280 h 92508"/>
              <a:gd name="connsiteX4" fmla="*/ 6717 w 111010"/>
              <a:gd name="connsiteY4" fmla="*/ 6717 h 92508"/>
              <a:gd name="connsiteX5" fmla="*/ 23923 w 111010"/>
              <a:gd name="connsiteY5" fmla="*/ 62500 h 92508"/>
              <a:gd name="connsiteX6" fmla="*/ 33359 w 111010"/>
              <a:gd name="connsiteY6" fmla="*/ 80539 h 9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010" h="92508">
                <a:moveTo>
                  <a:pt x="33359" y="80539"/>
                </a:moveTo>
                <a:cubicBezTo>
                  <a:pt x="58707" y="90252"/>
                  <a:pt x="85997" y="93768"/>
                  <a:pt x="110604" y="93953"/>
                </a:cubicBezTo>
                <a:cubicBezTo>
                  <a:pt x="104314" y="71196"/>
                  <a:pt x="94415" y="46866"/>
                  <a:pt x="79521" y="25496"/>
                </a:cubicBezTo>
                <a:cubicBezTo>
                  <a:pt x="73601" y="22721"/>
                  <a:pt x="67588" y="20408"/>
                  <a:pt x="61482" y="18280"/>
                </a:cubicBezTo>
                <a:cubicBezTo>
                  <a:pt x="43165" y="11990"/>
                  <a:pt x="24386" y="8474"/>
                  <a:pt x="6717" y="6717"/>
                </a:cubicBezTo>
                <a:cubicBezTo>
                  <a:pt x="10047" y="24848"/>
                  <a:pt x="15505" y="44183"/>
                  <a:pt x="23923" y="62500"/>
                </a:cubicBezTo>
                <a:cubicBezTo>
                  <a:pt x="26791" y="68698"/>
                  <a:pt x="29936" y="74711"/>
                  <a:pt x="33359" y="8053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4" name="Freeform: Shape 573">
            <a:extLst>
              <a:ext uri="{FF2B5EF4-FFF2-40B4-BE49-F238E27FC236}">
                <a16:creationId xmlns="" xmlns:a16="http://schemas.microsoft.com/office/drawing/2014/main" id="{BEA7BF81-F0CE-471D-A915-2C41CBFD8BAB}"/>
              </a:ext>
            </a:extLst>
          </p:cNvPr>
          <p:cNvSpPr/>
          <p:nvPr/>
        </p:nvSpPr>
        <p:spPr>
          <a:xfrm>
            <a:off x="748342" y="1485602"/>
            <a:ext cx="64756" cy="18502"/>
          </a:xfrm>
          <a:custGeom>
            <a:avLst/>
            <a:gdLst>
              <a:gd name="connsiteX0" fmla="*/ 6717 w 64756"/>
              <a:gd name="connsiteY0" fmla="*/ 6717 h 18501"/>
              <a:gd name="connsiteX1" fmla="*/ 6717 w 64756"/>
              <a:gd name="connsiteY1" fmla="*/ 6717 h 18501"/>
              <a:gd name="connsiteX2" fmla="*/ 61482 w 64756"/>
              <a:gd name="connsiteY2" fmla="*/ 18280 h 18501"/>
              <a:gd name="connsiteX3" fmla="*/ 6717 w 64756"/>
              <a:gd name="connsiteY3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18501">
                <a:moveTo>
                  <a:pt x="6717" y="6717"/>
                </a:moveTo>
                <a:cubicBezTo>
                  <a:pt x="6717" y="6717"/>
                  <a:pt x="6717" y="6717"/>
                  <a:pt x="6717" y="6717"/>
                </a:cubicBezTo>
                <a:cubicBezTo>
                  <a:pt x="24386" y="8382"/>
                  <a:pt x="43165" y="11990"/>
                  <a:pt x="61482" y="18280"/>
                </a:cubicBezTo>
                <a:cubicBezTo>
                  <a:pt x="43165" y="11897"/>
                  <a:pt x="24386" y="8382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5" name="Freeform: Shape 574">
            <a:extLst>
              <a:ext uri="{FF2B5EF4-FFF2-40B4-BE49-F238E27FC236}">
                <a16:creationId xmlns="" xmlns:a16="http://schemas.microsoft.com/office/drawing/2014/main" id="{D061C4C5-5A81-445F-A9BE-8A1BBDC33924}"/>
              </a:ext>
            </a:extLst>
          </p:cNvPr>
          <p:cNvSpPr/>
          <p:nvPr/>
        </p:nvSpPr>
        <p:spPr>
          <a:xfrm>
            <a:off x="-6717" y="712690"/>
            <a:ext cx="1868682" cy="3681858"/>
          </a:xfrm>
          <a:custGeom>
            <a:avLst/>
            <a:gdLst>
              <a:gd name="connsiteX0" fmla="*/ 194140 w 1868681"/>
              <a:gd name="connsiteY0" fmla="*/ 3497821 h 3681857"/>
              <a:gd name="connsiteX1" fmla="*/ 386836 w 1868681"/>
              <a:gd name="connsiteY1" fmla="*/ 3519561 h 3681857"/>
              <a:gd name="connsiteX2" fmla="*/ 369075 w 1868681"/>
              <a:gd name="connsiteY2" fmla="*/ 3343331 h 3681857"/>
              <a:gd name="connsiteX3" fmla="*/ 345762 w 1868681"/>
              <a:gd name="connsiteY3" fmla="*/ 3279870 h 3681857"/>
              <a:gd name="connsiteX4" fmla="*/ 509041 w 1868681"/>
              <a:gd name="connsiteY4" fmla="*/ 3165066 h 3681857"/>
              <a:gd name="connsiteX5" fmla="*/ 707843 w 1868681"/>
              <a:gd name="connsiteY5" fmla="*/ 3148045 h 3681857"/>
              <a:gd name="connsiteX6" fmla="*/ 716816 w 1868681"/>
              <a:gd name="connsiteY6" fmla="*/ 3180793 h 3681857"/>
              <a:gd name="connsiteX7" fmla="*/ 730785 w 1868681"/>
              <a:gd name="connsiteY7" fmla="*/ 3211599 h 3681857"/>
              <a:gd name="connsiteX8" fmla="*/ 830417 w 1868681"/>
              <a:gd name="connsiteY8" fmla="*/ 3358040 h 3681857"/>
              <a:gd name="connsiteX9" fmla="*/ 891195 w 1868681"/>
              <a:gd name="connsiteY9" fmla="*/ 3295689 h 3681857"/>
              <a:gd name="connsiteX10" fmla="*/ 920243 w 1868681"/>
              <a:gd name="connsiteY10" fmla="*/ 3268491 h 3681857"/>
              <a:gd name="connsiteX11" fmla="*/ 949106 w 1868681"/>
              <a:gd name="connsiteY11" fmla="*/ 3237038 h 3681857"/>
              <a:gd name="connsiteX12" fmla="*/ 964000 w 1868681"/>
              <a:gd name="connsiteY12" fmla="*/ 3217519 h 3681857"/>
              <a:gd name="connsiteX13" fmla="*/ 987590 w 1868681"/>
              <a:gd name="connsiteY13" fmla="*/ 3172560 h 3681857"/>
              <a:gd name="connsiteX14" fmla="*/ 1222748 w 1868681"/>
              <a:gd name="connsiteY14" fmla="*/ 3234356 h 3681857"/>
              <a:gd name="connsiteX15" fmla="*/ 1202766 w 1868681"/>
              <a:gd name="connsiteY15" fmla="*/ 2991982 h 3681857"/>
              <a:gd name="connsiteX16" fmla="*/ 1251148 w 1868681"/>
              <a:gd name="connsiteY16" fmla="*/ 2976533 h 3681857"/>
              <a:gd name="connsiteX17" fmla="*/ 1274645 w 1868681"/>
              <a:gd name="connsiteY17" fmla="*/ 2964322 h 3681857"/>
              <a:gd name="connsiteX18" fmla="*/ 1301473 w 1868681"/>
              <a:gd name="connsiteY18" fmla="*/ 2947393 h 3681857"/>
              <a:gd name="connsiteX19" fmla="*/ 1338014 w 1868681"/>
              <a:gd name="connsiteY19" fmla="*/ 2920565 h 3681857"/>
              <a:gd name="connsiteX20" fmla="*/ 1354758 w 1868681"/>
              <a:gd name="connsiteY20" fmla="*/ 2907614 h 3681857"/>
              <a:gd name="connsiteX21" fmla="*/ 1370947 w 1868681"/>
              <a:gd name="connsiteY21" fmla="*/ 2895218 h 3681857"/>
              <a:gd name="connsiteX22" fmla="*/ 1412761 w 1868681"/>
              <a:gd name="connsiteY22" fmla="*/ 2869408 h 3681857"/>
              <a:gd name="connsiteX23" fmla="*/ 1285839 w 1868681"/>
              <a:gd name="connsiteY23" fmla="*/ 2745816 h 3681857"/>
              <a:gd name="connsiteX24" fmla="*/ 1227188 w 1868681"/>
              <a:gd name="connsiteY24" fmla="*/ 2712142 h 3681857"/>
              <a:gd name="connsiteX25" fmla="*/ 1278438 w 1868681"/>
              <a:gd name="connsiteY25" fmla="*/ 2519261 h 3681857"/>
              <a:gd name="connsiteX26" fmla="*/ 1419792 w 1868681"/>
              <a:gd name="connsiteY26" fmla="*/ 2378370 h 3681857"/>
              <a:gd name="connsiteX27" fmla="*/ 1447730 w 1868681"/>
              <a:gd name="connsiteY27" fmla="*/ 2397704 h 3681857"/>
              <a:gd name="connsiteX28" fmla="*/ 1648659 w 1868681"/>
              <a:gd name="connsiteY28" fmla="*/ 2460425 h 3681857"/>
              <a:gd name="connsiteX29" fmla="*/ 1653840 w 1868681"/>
              <a:gd name="connsiteY29" fmla="*/ 2382903 h 3681857"/>
              <a:gd name="connsiteX30" fmla="*/ 1654765 w 1868681"/>
              <a:gd name="connsiteY30" fmla="*/ 2376242 h 3681857"/>
              <a:gd name="connsiteX31" fmla="*/ 1660963 w 1868681"/>
              <a:gd name="connsiteY31" fmla="*/ 2320182 h 3681857"/>
              <a:gd name="connsiteX32" fmla="*/ 1661888 w 1868681"/>
              <a:gd name="connsiteY32" fmla="*/ 2300570 h 3681857"/>
              <a:gd name="connsiteX33" fmla="*/ 1661795 w 1868681"/>
              <a:gd name="connsiteY33" fmla="*/ 2283641 h 3681857"/>
              <a:gd name="connsiteX34" fmla="*/ 1660685 w 1868681"/>
              <a:gd name="connsiteY34" fmla="*/ 2266804 h 3681857"/>
              <a:gd name="connsiteX35" fmla="*/ 1654857 w 1868681"/>
              <a:gd name="connsiteY35" fmla="*/ 2233501 h 3681857"/>
              <a:gd name="connsiteX36" fmla="*/ 1649862 w 1868681"/>
              <a:gd name="connsiteY36" fmla="*/ 2217219 h 3681857"/>
              <a:gd name="connsiteX37" fmla="*/ 1869756 w 1868681"/>
              <a:gd name="connsiteY37" fmla="*/ 2113332 h 3681857"/>
              <a:gd name="connsiteX38" fmla="*/ 1698614 w 1868681"/>
              <a:gd name="connsiteY38" fmla="*/ 1940525 h 3681857"/>
              <a:gd name="connsiteX39" fmla="*/ 1732565 w 1868681"/>
              <a:gd name="connsiteY39" fmla="*/ 1882059 h 3681857"/>
              <a:gd name="connsiteX40" fmla="*/ 1745239 w 1868681"/>
              <a:gd name="connsiteY40" fmla="*/ 1844038 h 3681857"/>
              <a:gd name="connsiteX41" fmla="*/ 1752639 w 1868681"/>
              <a:gd name="connsiteY41" fmla="*/ 1814898 h 3681857"/>
              <a:gd name="connsiteX42" fmla="*/ 1780577 w 1868681"/>
              <a:gd name="connsiteY42" fmla="*/ 1711565 h 3681857"/>
              <a:gd name="connsiteX43" fmla="*/ 1587048 w 1868681"/>
              <a:gd name="connsiteY43" fmla="*/ 1699539 h 3681857"/>
              <a:gd name="connsiteX44" fmla="*/ 1537371 w 1868681"/>
              <a:gd name="connsiteY44" fmla="*/ 1710363 h 3681857"/>
              <a:gd name="connsiteX45" fmla="*/ 1452725 w 1868681"/>
              <a:gd name="connsiteY45" fmla="*/ 1529692 h 3681857"/>
              <a:gd name="connsiteX46" fmla="*/ 1470487 w 1868681"/>
              <a:gd name="connsiteY46" fmla="*/ 1330890 h 3681857"/>
              <a:gd name="connsiteX47" fmla="*/ 1487509 w 1868681"/>
              <a:gd name="connsiteY47" fmla="*/ 1330058 h 3681857"/>
              <a:gd name="connsiteX48" fmla="*/ 1520812 w 1868681"/>
              <a:gd name="connsiteY48" fmla="*/ 1324045 h 3681857"/>
              <a:gd name="connsiteX49" fmla="*/ 1537001 w 1868681"/>
              <a:gd name="connsiteY49" fmla="*/ 1319327 h 3681857"/>
              <a:gd name="connsiteX50" fmla="*/ 1698522 w 1868681"/>
              <a:gd name="connsiteY50" fmla="*/ 1246615 h 3681857"/>
              <a:gd name="connsiteX51" fmla="*/ 1661055 w 1868681"/>
              <a:gd name="connsiteY51" fmla="*/ 1197215 h 3681857"/>
              <a:gd name="connsiteX52" fmla="*/ 1656430 w 1868681"/>
              <a:gd name="connsiteY52" fmla="*/ 1189999 h 3681857"/>
              <a:gd name="connsiteX53" fmla="*/ 1637188 w 1868681"/>
              <a:gd name="connsiteY53" fmla="*/ 1159564 h 3681857"/>
              <a:gd name="connsiteX54" fmla="*/ 1635060 w 1868681"/>
              <a:gd name="connsiteY54" fmla="*/ 1156234 h 3681857"/>
              <a:gd name="connsiteX55" fmla="*/ 1622664 w 1868681"/>
              <a:gd name="connsiteY55" fmla="*/ 1138102 h 3681857"/>
              <a:gd name="connsiteX56" fmla="*/ 1613876 w 1868681"/>
              <a:gd name="connsiteY56" fmla="*/ 1125983 h 3681857"/>
              <a:gd name="connsiteX57" fmla="*/ 1595004 w 1868681"/>
              <a:gd name="connsiteY57" fmla="*/ 1102856 h 3681857"/>
              <a:gd name="connsiteX58" fmla="*/ 1543106 w 1868681"/>
              <a:gd name="connsiteY58" fmla="*/ 1059562 h 3681857"/>
              <a:gd name="connsiteX59" fmla="*/ 1644774 w 1868681"/>
              <a:gd name="connsiteY59" fmla="*/ 838650 h 3681857"/>
              <a:gd name="connsiteX60" fmla="*/ 1402585 w 1868681"/>
              <a:gd name="connsiteY60" fmla="*/ 816263 h 3681857"/>
              <a:gd name="connsiteX61" fmla="*/ 1395739 w 1868681"/>
              <a:gd name="connsiteY61" fmla="*/ 765938 h 3681857"/>
              <a:gd name="connsiteX62" fmla="*/ 1386859 w 1868681"/>
              <a:gd name="connsiteY62" fmla="*/ 738000 h 3681857"/>
              <a:gd name="connsiteX63" fmla="*/ 1382788 w 1868681"/>
              <a:gd name="connsiteY63" fmla="*/ 727454 h 3681857"/>
              <a:gd name="connsiteX64" fmla="*/ 1364842 w 1868681"/>
              <a:gd name="connsiteY64" fmla="*/ 688323 h 3681857"/>
              <a:gd name="connsiteX65" fmla="*/ 1363917 w 1868681"/>
              <a:gd name="connsiteY65" fmla="*/ 686565 h 3681857"/>
              <a:gd name="connsiteX66" fmla="*/ 1318309 w 1868681"/>
              <a:gd name="connsiteY66" fmla="*/ 588228 h 3681857"/>
              <a:gd name="connsiteX67" fmla="*/ 1174550 w 1868681"/>
              <a:gd name="connsiteY67" fmla="*/ 691746 h 3681857"/>
              <a:gd name="connsiteX68" fmla="*/ 1150868 w 1868681"/>
              <a:gd name="connsiteY68" fmla="*/ 715891 h 3681857"/>
              <a:gd name="connsiteX69" fmla="*/ 1131164 w 1868681"/>
              <a:gd name="connsiteY69" fmla="*/ 743643 h 3681857"/>
              <a:gd name="connsiteX70" fmla="*/ 950124 w 1868681"/>
              <a:gd name="connsiteY70" fmla="*/ 659645 h 3681857"/>
              <a:gd name="connsiteX71" fmla="*/ 835968 w 1868681"/>
              <a:gd name="connsiteY71" fmla="*/ 495904 h 3681857"/>
              <a:gd name="connsiteX72" fmla="*/ 870196 w 1868681"/>
              <a:gd name="connsiteY72" fmla="*/ 458346 h 3681857"/>
              <a:gd name="connsiteX73" fmla="*/ 956599 w 1868681"/>
              <a:gd name="connsiteY73" fmla="*/ 284706 h 3681857"/>
              <a:gd name="connsiteX74" fmla="*/ 784903 w 1868681"/>
              <a:gd name="connsiteY74" fmla="*/ 241135 h 3681857"/>
              <a:gd name="connsiteX75" fmla="*/ 717371 w 1868681"/>
              <a:gd name="connsiteY75" fmla="*/ 241320 h 3681857"/>
              <a:gd name="connsiteX76" fmla="*/ 653262 w 1868681"/>
              <a:gd name="connsiteY76" fmla="*/ 6717 h 3681857"/>
              <a:gd name="connsiteX77" fmla="*/ 453350 w 1868681"/>
              <a:gd name="connsiteY77" fmla="*/ 145203 h 3681857"/>
              <a:gd name="connsiteX78" fmla="*/ 401730 w 1868681"/>
              <a:gd name="connsiteY78" fmla="*/ 101631 h 3681857"/>
              <a:gd name="connsiteX79" fmla="*/ 372312 w 1868681"/>
              <a:gd name="connsiteY79" fmla="*/ 85257 h 3681857"/>
              <a:gd name="connsiteX80" fmla="*/ 355291 w 1868681"/>
              <a:gd name="connsiteY80" fmla="*/ 77209 h 3681857"/>
              <a:gd name="connsiteX81" fmla="*/ 316437 w 1868681"/>
              <a:gd name="connsiteY81" fmla="*/ 60742 h 3681857"/>
              <a:gd name="connsiteX82" fmla="*/ 303301 w 1868681"/>
              <a:gd name="connsiteY82" fmla="*/ 55376 h 3681857"/>
              <a:gd name="connsiteX83" fmla="*/ 242245 w 1868681"/>
              <a:gd name="connsiteY83" fmla="*/ 24664 h 3681857"/>
              <a:gd name="connsiteX84" fmla="*/ 196083 w 1868681"/>
              <a:gd name="connsiteY84" fmla="*/ 230033 h 3681857"/>
              <a:gd name="connsiteX85" fmla="*/ 198858 w 1868681"/>
              <a:gd name="connsiteY85" fmla="*/ 263892 h 3681857"/>
              <a:gd name="connsiteX86" fmla="*/ 6717 w 1868681"/>
              <a:gd name="connsiteY86" fmla="*/ 316252 h 3681857"/>
              <a:gd name="connsiteX87" fmla="*/ 6717 w 1868681"/>
              <a:gd name="connsiteY87" fmla="*/ 398122 h 3681857"/>
              <a:gd name="connsiteX88" fmla="*/ 103296 w 1868681"/>
              <a:gd name="connsiteY88" fmla="*/ 528190 h 3681857"/>
              <a:gd name="connsiteX89" fmla="*/ 6717 w 1868681"/>
              <a:gd name="connsiteY89" fmla="*/ 694614 h 3681857"/>
              <a:gd name="connsiteX90" fmla="*/ 6717 w 1868681"/>
              <a:gd name="connsiteY90" fmla="*/ 742811 h 3681857"/>
              <a:gd name="connsiteX91" fmla="*/ 221985 w 1868681"/>
              <a:gd name="connsiteY91" fmla="*/ 782775 h 3681857"/>
              <a:gd name="connsiteX92" fmla="*/ 286094 w 1868681"/>
              <a:gd name="connsiteY92" fmla="*/ 1017377 h 3681857"/>
              <a:gd name="connsiteX93" fmla="*/ 486006 w 1868681"/>
              <a:gd name="connsiteY93" fmla="*/ 878892 h 3681857"/>
              <a:gd name="connsiteX94" fmla="*/ 676575 w 1868681"/>
              <a:gd name="connsiteY94" fmla="*/ 986665 h 3681857"/>
              <a:gd name="connsiteX95" fmla="*/ 815801 w 1868681"/>
              <a:gd name="connsiteY95" fmla="*/ 1155679 h 3681857"/>
              <a:gd name="connsiteX96" fmla="*/ 714133 w 1868681"/>
              <a:gd name="connsiteY96" fmla="*/ 1376590 h 3681857"/>
              <a:gd name="connsiteX97" fmla="*/ 956322 w 1868681"/>
              <a:gd name="connsiteY97" fmla="*/ 1398977 h 3681857"/>
              <a:gd name="connsiteX98" fmla="*/ 1033012 w 1868681"/>
              <a:gd name="connsiteY98" fmla="*/ 1604070 h 3681857"/>
              <a:gd name="connsiteX99" fmla="*/ 1031069 w 1868681"/>
              <a:gd name="connsiteY99" fmla="*/ 1823038 h 3681857"/>
              <a:gd name="connsiteX100" fmla="*/ 811175 w 1868681"/>
              <a:gd name="connsiteY100" fmla="*/ 1926834 h 3681857"/>
              <a:gd name="connsiteX101" fmla="*/ 982317 w 1868681"/>
              <a:gd name="connsiteY101" fmla="*/ 2099640 h 3681857"/>
              <a:gd name="connsiteX102" fmla="*/ 909235 w 1868681"/>
              <a:gd name="connsiteY102" fmla="*/ 2306028 h 3681857"/>
              <a:gd name="connsiteX103" fmla="*/ 766956 w 1868681"/>
              <a:gd name="connsiteY103" fmla="*/ 2472544 h 3681857"/>
              <a:gd name="connsiteX104" fmla="*/ 531798 w 1868681"/>
              <a:gd name="connsiteY104" fmla="*/ 2410748 h 3681857"/>
              <a:gd name="connsiteX105" fmla="*/ 551780 w 1868681"/>
              <a:gd name="connsiteY105" fmla="*/ 2653121 h 3681857"/>
              <a:gd name="connsiteX106" fmla="*/ 363154 w 1868681"/>
              <a:gd name="connsiteY106" fmla="*/ 2764317 h 3681857"/>
              <a:gd name="connsiteX107" fmla="*/ 147145 w 1868681"/>
              <a:gd name="connsiteY107" fmla="*/ 2800396 h 3681857"/>
              <a:gd name="connsiteX108" fmla="*/ 6717 w 1868681"/>
              <a:gd name="connsiteY108" fmla="*/ 2601872 h 3681857"/>
              <a:gd name="connsiteX109" fmla="*/ 6717 w 1868681"/>
              <a:gd name="connsiteY109" fmla="*/ 2691605 h 3681857"/>
              <a:gd name="connsiteX110" fmla="*/ 96080 w 1868681"/>
              <a:gd name="connsiteY110" fmla="*/ 2880786 h 3681857"/>
              <a:gd name="connsiteX111" fmla="*/ 39372 w 1868681"/>
              <a:gd name="connsiteY111" fmla="*/ 2844060 h 3681857"/>
              <a:gd name="connsiteX112" fmla="*/ 72306 w 1868681"/>
              <a:gd name="connsiteY112" fmla="*/ 2788555 h 3681857"/>
              <a:gd name="connsiteX113" fmla="*/ 6717 w 1868681"/>
              <a:gd name="connsiteY113" fmla="*/ 2798083 h 3681857"/>
              <a:gd name="connsiteX114" fmla="*/ 6717 w 1868681"/>
              <a:gd name="connsiteY114" fmla="*/ 2935274 h 3681857"/>
              <a:gd name="connsiteX115" fmla="*/ 82574 w 1868681"/>
              <a:gd name="connsiteY115" fmla="*/ 2956366 h 3681857"/>
              <a:gd name="connsiteX116" fmla="*/ 151123 w 1868681"/>
              <a:gd name="connsiteY116" fmla="*/ 2995127 h 3681857"/>
              <a:gd name="connsiteX117" fmla="*/ 189885 w 1868681"/>
              <a:gd name="connsiteY117" fmla="*/ 3063676 h 3681857"/>
              <a:gd name="connsiteX118" fmla="*/ 210977 w 1868681"/>
              <a:gd name="connsiteY118" fmla="*/ 3139534 h 3681857"/>
              <a:gd name="connsiteX119" fmla="*/ 189885 w 1868681"/>
              <a:gd name="connsiteY119" fmla="*/ 3215391 h 3681857"/>
              <a:gd name="connsiteX120" fmla="*/ 151123 w 1868681"/>
              <a:gd name="connsiteY120" fmla="*/ 3283940 h 3681857"/>
              <a:gd name="connsiteX121" fmla="*/ 82574 w 1868681"/>
              <a:gd name="connsiteY121" fmla="*/ 3322702 h 3681857"/>
              <a:gd name="connsiteX122" fmla="*/ 6717 w 1868681"/>
              <a:gd name="connsiteY122" fmla="*/ 3343701 h 3681857"/>
              <a:gd name="connsiteX123" fmla="*/ 6717 w 1868681"/>
              <a:gd name="connsiteY123" fmla="*/ 3480892 h 3681857"/>
              <a:gd name="connsiteX124" fmla="*/ 72306 w 1868681"/>
              <a:gd name="connsiteY124" fmla="*/ 3490420 h 3681857"/>
              <a:gd name="connsiteX125" fmla="*/ 39372 w 1868681"/>
              <a:gd name="connsiteY125" fmla="*/ 3434915 h 3681857"/>
              <a:gd name="connsiteX126" fmla="*/ 96080 w 1868681"/>
              <a:gd name="connsiteY126" fmla="*/ 3398189 h 3681857"/>
              <a:gd name="connsiteX127" fmla="*/ 6717 w 1868681"/>
              <a:gd name="connsiteY127" fmla="*/ 3587370 h 3681857"/>
              <a:gd name="connsiteX128" fmla="*/ 6717 w 1868681"/>
              <a:gd name="connsiteY128" fmla="*/ 3677104 h 3681857"/>
              <a:gd name="connsiteX129" fmla="*/ 147145 w 1868681"/>
              <a:gd name="connsiteY129" fmla="*/ 3478579 h 3681857"/>
              <a:gd name="connsiteX130" fmla="*/ 194140 w 1868681"/>
              <a:gd name="connsiteY130" fmla="*/ 3497821 h 3681857"/>
              <a:gd name="connsiteX131" fmla="*/ 265464 w 1868681"/>
              <a:gd name="connsiteY131" fmla="*/ 3228805 h 3681857"/>
              <a:gd name="connsiteX132" fmla="*/ 302191 w 1868681"/>
              <a:gd name="connsiteY132" fmla="*/ 3172097 h 3681857"/>
              <a:gd name="connsiteX133" fmla="*/ 357696 w 1868681"/>
              <a:gd name="connsiteY133" fmla="*/ 3205030 h 3681857"/>
              <a:gd name="connsiteX134" fmla="*/ 348075 w 1868681"/>
              <a:gd name="connsiteY134" fmla="*/ 3139441 h 3681857"/>
              <a:gd name="connsiteX135" fmla="*/ 357696 w 1868681"/>
              <a:gd name="connsiteY135" fmla="*/ 3073852 h 3681857"/>
              <a:gd name="connsiteX136" fmla="*/ 302191 w 1868681"/>
              <a:gd name="connsiteY136" fmla="*/ 3106786 h 3681857"/>
              <a:gd name="connsiteX137" fmla="*/ 265464 w 1868681"/>
              <a:gd name="connsiteY137" fmla="*/ 3050078 h 3681857"/>
              <a:gd name="connsiteX138" fmla="*/ 454645 w 1868681"/>
              <a:gd name="connsiteY138" fmla="*/ 3139441 h 3681857"/>
              <a:gd name="connsiteX139" fmla="*/ 265464 w 1868681"/>
              <a:gd name="connsiteY139" fmla="*/ 3228805 h 3681857"/>
              <a:gd name="connsiteX140" fmla="*/ 736613 w 1868681"/>
              <a:gd name="connsiteY140" fmla="*/ 3057293 h 3681857"/>
              <a:gd name="connsiteX141" fmla="*/ 534203 w 1868681"/>
              <a:gd name="connsiteY141" fmla="*/ 3110486 h 3681857"/>
              <a:gd name="connsiteX142" fmla="*/ 621717 w 1868681"/>
              <a:gd name="connsiteY142" fmla="*/ 2920380 h 3681857"/>
              <a:gd name="connsiteX143" fmla="*/ 630042 w 1868681"/>
              <a:gd name="connsiteY143" fmla="*/ 2987449 h 3681857"/>
              <a:gd name="connsiteX144" fmla="*/ 566396 w 1868681"/>
              <a:gd name="connsiteY144" fmla="*/ 2997903 h 3681857"/>
              <a:gd name="connsiteX145" fmla="*/ 615889 w 1868681"/>
              <a:gd name="connsiteY145" fmla="*/ 3041937 h 3681857"/>
              <a:gd name="connsiteX146" fmla="*/ 650672 w 1868681"/>
              <a:gd name="connsiteY146" fmla="*/ 3098367 h 3681857"/>
              <a:gd name="connsiteX147" fmla="*/ 672042 w 1868681"/>
              <a:gd name="connsiteY147" fmla="*/ 3037497 h 3681857"/>
              <a:gd name="connsiteX148" fmla="*/ 736613 w 1868681"/>
              <a:gd name="connsiteY148" fmla="*/ 3057293 h 3681857"/>
              <a:gd name="connsiteX149" fmla="*/ 961595 w 1868681"/>
              <a:gd name="connsiteY149" fmla="*/ 3143604 h 3681857"/>
              <a:gd name="connsiteX150" fmla="*/ 958727 w 1868681"/>
              <a:gd name="connsiteY150" fmla="*/ 3153503 h 3681857"/>
              <a:gd name="connsiteX151" fmla="*/ 953824 w 1868681"/>
              <a:gd name="connsiteY151" fmla="*/ 3162939 h 3681857"/>
              <a:gd name="connsiteX152" fmla="*/ 946978 w 1868681"/>
              <a:gd name="connsiteY152" fmla="*/ 3172190 h 3681857"/>
              <a:gd name="connsiteX153" fmla="*/ 942908 w 1868681"/>
              <a:gd name="connsiteY153" fmla="*/ 3176722 h 3681857"/>
              <a:gd name="connsiteX154" fmla="*/ 933842 w 1868681"/>
              <a:gd name="connsiteY154" fmla="*/ 3185696 h 3681857"/>
              <a:gd name="connsiteX155" fmla="*/ 909327 w 1868681"/>
              <a:gd name="connsiteY155" fmla="*/ 3206510 h 3681857"/>
              <a:gd name="connsiteX156" fmla="*/ 899336 w 1868681"/>
              <a:gd name="connsiteY156" fmla="*/ 3214559 h 3681857"/>
              <a:gd name="connsiteX157" fmla="*/ 896098 w 1868681"/>
              <a:gd name="connsiteY157" fmla="*/ 3217149 h 3681857"/>
              <a:gd name="connsiteX158" fmla="*/ 886200 w 1868681"/>
              <a:gd name="connsiteY158" fmla="*/ 3225197 h 3681857"/>
              <a:gd name="connsiteX159" fmla="*/ 880927 w 1868681"/>
              <a:gd name="connsiteY159" fmla="*/ 3229638 h 3681857"/>
              <a:gd name="connsiteX160" fmla="*/ 871491 w 1868681"/>
              <a:gd name="connsiteY160" fmla="*/ 3237686 h 3681857"/>
              <a:gd name="connsiteX161" fmla="*/ 867143 w 1868681"/>
              <a:gd name="connsiteY161" fmla="*/ 3241479 h 3681857"/>
              <a:gd name="connsiteX162" fmla="*/ 855764 w 1868681"/>
              <a:gd name="connsiteY162" fmla="*/ 3251747 h 3681857"/>
              <a:gd name="connsiteX163" fmla="*/ 846051 w 1868681"/>
              <a:gd name="connsiteY163" fmla="*/ 3260998 h 3681857"/>
              <a:gd name="connsiteX164" fmla="*/ 838373 w 1868681"/>
              <a:gd name="connsiteY164" fmla="*/ 3268676 h 3681857"/>
              <a:gd name="connsiteX165" fmla="*/ 838373 w 1868681"/>
              <a:gd name="connsiteY165" fmla="*/ 3268676 h 3681857"/>
              <a:gd name="connsiteX166" fmla="*/ 838373 w 1868681"/>
              <a:gd name="connsiteY166" fmla="*/ 3268676 h 3681857"/>
              <a:gd name="connsiteX167" fmla="*/ 758907 w 1868681"/>
              <a:gd name="connsiteY167" fmla="*/ 3170617 h 3681857"/>
              <a:gd name="connsiteX168" fmla="*/ 748084 w 1868681"/>
              <a:gd name="connsiteY168" fmla="*/ 3154705 h 3681857"/>
              <a:gd name="connsiteX169" fmla="*/ 742996 w 1868681"/>
              <a:gd name="connsiteY169" fmla="*/ 3144437 h 3681857"/>
              <a:gd name="connsiteX170" fmla="*/ 738926 w 1868681"/>
              <a:gd name="connsiteY170" fmla="*/ 3129173 h 3681857"/>
              <a:gd name="connsiteX171" fmla="*/ 765846 w 1868681"/>
              <a:gd name="connsiteY171" fmla="*/ 3072465 h 3681857"/>
              <a:gd name="connsiteX172" fmla="*/ 819131 w 1868681"/>
              <a:gd name="connsiteY172" fmla="*/ 3114001 h 3681857"/>
              <a:gd name="connsiteX173" fmla="*/ 781480 w 1868681"/>
              <a:gd name="connsiteY173" fmla="*/ 3166454 h 3681857"/>
              <a:gd name="connsiteX174" fmla="*/ 796651 w 1868681"/>
              <a:gd name="connsiteY174" fmla="*/ 3174780 h 3681857"/>
              <a:gd name="connsiteX175" fmla="*/ 813673 w 1868681"/>
              <a:gd name="connsiteY175" fmla="*/ 3176815 h 3681857"/>
              <a:gd name="connsiteX176" fmla="*/ 847716 w 1868681"/>
              <a:gd name="connsiteY176" fmla="*/ 3162754 h 3681857"/>
              <a:gd name="connsiteX177" fmla="*/ 847716 w 1868681"/>
              <a:gd name="connsiteY177" fmla="*/ 3162754 h 3681857"/>
              <a:gd name="connsiteX178" fmla="*/ 847716 w 1868681"/>
              <a:gd name="connsiteY178" fmla="*/ 3162754 h 3681857"/>
              <a:gd name="connsiteX179" fmla="*/ 880094 w 1868681"/>
              <a:gd name="connsiteY179" fmla="*/ 3182735 h 3681857"/>
              <a:gd name="connsiteX180" fmla="*/ 904239 w 1868681"/>
              <a:gd name="connsiteY180" fmla="*/ 3181625 h 3681857"/>
              <a:gd name="connsiteX181" fmla="*/ 912195 w 1868681"/>
              <a:gd name="connsiteY181" fmla="*/ 3178018 h 3681857"/>
              <a:gd name="connsiteX182" fmla="*/ 884257 w 1868681"/>
              <a:gd name="connsiteY182" fmla="*/ 3119829 h 3681857"/>
              <a:gd name="connsiteX183" fmla="*/ 943926 w 1868681"/>
              <a:gd name="connsiteY183" fmla="*/ 3088192 h 3681857"/>
              <a:gd name="connsiteX184" fmla="*/ 961595 w 1868681"/>
              <a:gd name="connsiteY184" fmla="*/ 3143604 h 3681857"/>
              <a:gd name="connsiteX185" fmla="*/ 936987 w 1868681"/>
              <a:gd name="connsiteY185" fmla="*/ 3011594 h 3681857"/>
              <a:gd name="connsiteX186" fmla="*/ 859557 w 1868681"/>
              <a:gd name="connsiteY186" fmla="*/ 3025933 h 3681857"/>
              <a:gd name="connsiteX187" fmla="*/ 785828 w 1868681"/>
              <a:gd name="connsiteY187" fmla="*/ 2998365 h 3681857"/>
              <a:gd name="connsiteX188" fmla="*/ 720886 w 1868681"/>
              <a:gd name="connsiteY188" fmla="*/ 2953776 h 3681857"/>
              <a:gd name="connsiteX189" fmla="*/ 688231 w 1868681"/>
              <a:gd name="connsiteY189" fmla="*/ 2882081 h 3681857"/>
              <a:gd name="connsiteX190" fmla="*/ 673892 w 1868681"/>
              <a:gd name="connsiteY190" fmla="*/ 2804651 h 3681857"/>
              <a:gd name="connsiteX191" fmla="*/ 701459 w 1868681"/>
              <a:gd name="connsiteY191" fmla="*/ 2730922 h 3681857"/>
              <a:gd name="connsiteX192" fmla="*/ 746049 w 1868681"/>
              <a:gd name="connsiteY192" fmla="*/ 2665980 h 3681857"/>
              <a:gd name="connsiteX193" fmla="*/ 817743 w 1868681"/>
              <a:gd name="connsiteY193" fmla="*/ 2633325 h 3681857"/>
              <a:gd name="connsiteX194" fmla="*/ 895173 w 1868681"/>
              <a:gd name="connsiteY194" fmla="*/ 2618986 h 3681857"/>
              <a:gd name="connsiteX195" fmla="*/ 968903 w 1868681"/>
              <a:gd name="connsiteY195" fmla="*/ 2646553 h 3681857"/>
              <a:gd name="connsiteX196" fmla="*/ 1033844 w 1868681"/>
              <a:gd name="connsiteY196" fmla="*/ 2691143 h 3681857"/>
              <a:gd name="connsiteX197" fmla="*/ 1066500 w 1868681"/>
              <a:gd name="connsiteY197" fmla="*/ 2762837 h 3681857"/>
              <a:gd name="connsiteX198" fmla="*/ 1080839 w 1868681"/>
              <a:gd name="connsiteY198" fmla="*/ 2840267 h 3681857"/>
              <a:gd name="connsiteX199" fmla="*/ 1053271 w 1868681"/>
              <a:gd name="connsiteY199" fmla="*/ 2913997 h 3681857"/>
              <a:gd name="connsiteX200" fmla="*/ 1008682 w 1868681"/>
              <a:gd name="connsiteY200" fmla="*/ 2978846 h 3681857"/>
              <a:gd name="connsiteX201" fmla="*/ 936987 w 1868681"/>
              <a:gd name="connsiteY201" fmla="*/ 3011594 h 3681857"/>
              <a:gd name="connsiteX202" fmla="*/ 1188334 w 1868681"/>
              <a:gd name="connsiteY202" fmla="*/ 2647201 h 3681857"/>
              <a:gd name="connsiteX203" fmla="*/ 1138842 w 1868681"/>
              <a:gd name="connsiteY203" fmla="*/ 2603167 h 3681857"/>
              <a:gd name="connsiteX204" fmla="*/ 1104059 w 1868681"/>
              <a:gd name="connsiteY204" fmla="*/ 2546736 h 3681857"/>
              <a:gd name="connsiteX205" fmla="*/ 1082689 w 1868681"/>
              <a:gd name="connsiteY205" fmla="*/ 2607607 h 3681857"/>
              <a:gd name="connsiteX206" fmla="*/ 1018118 w 1868681"/>
              <a:gd name="connsiteY206" fmla="*/ 2587810 h 3681857"/>
              <a:gd name="connsiteX207" fmla="*/ 1220528 w 1868681"/>
              <a:gd name="connsiteY207" fmla="*/ 2534617 h 3681857"/>
              <a:gd name="connsiteX208" fmla="*/ 1133014 w 1868681"/>
              <a:gd name="connsiteY208" fmla="*/ 2724724 h 3681857"/>
              <a:gd name="connsiteX209" fmla="*/ 1124688 w 1868681"/>
              <a:gd name="connsiteY209" fmla="*/ 2657655 h 3681857"/>
              <a:gd name="connsiteX210" fmla="*/ 1188334 w 1868681"/>
              <a:gd name="connsiteY210" fmla="*/ 2647201 h 3681857"/>
              <a:gd name="connsiteX211" fmla="*/ 1165300 w 1868681"/>
              <a:gd name="connsiteY211" fmla="*/ 3165714 h 3681857"/>
              <a:gd name="connsiteX212" fmla="*/ 975194 w 1868681"/>
              <a:gd name="connsiteY212" fmla="*/ 3078200 h 3681857"/>
              <a:gd name="connsiteX213" fmla="*/ 1042263 w 1868681"/>
              <a:gd name="connsiteY213" fmla="*/ 3069875 h 3681857"/>
              <a:gd name="connsiteX214" fmla="*/ 1052716 w 1868681"/>
              <a:gd name="connsiteY214" fmla="*/ 3133521 h 3681857"/>
              <a:gd name="connsiteX215" fmla="*/ 1096750 w 1868681"/>
              <a:gd name="connsiteY215" fmla="*/ 3084029 h 3681857"/>
              <a:gd name="connsiteX216" fmla="*/ 1153181 w 1868681"/>
              <a:gd name="connsiteY216" fmla="*/ 3049245 h 3681857"/>
              <a:gd name="connsiteX217" fmla="*/ 1092310 w 1868681"/>
              <a:gd name="connsiteY217" fmla="*/ 3027876 h 3681857"/>
              <a:gd name="connsiteX218" fmla="*/ 1112107 w 1868681"/>
              <a:gd name="connsiteY218" fmla="*/ 2963304 h 3681857"/>
              <a:gd name="connsiteX219" fmla="*/ 1165300 w 1868681"/>
              <a:gd name="connsiteY219" fmla="*/ 3165714 h 3681857"/>
              <a:gd name="connsiteX220" fmla="*/ 1231536 w 1868681"/>
              <a:gd name="connsiteY220" fmla="*/ 2757009 h 3681857"/>
              <a:gd name="connsiteX221" fmla="*/ 1323490 w 1868681"/>
              <a:gd name="connsiteY221" fmla="*/ 2861637 h 3681857"/>
              <a:gd name="connsiteX222" fmla="*/ 1323490 w 1868681"/>
              <a:gd name="connsiteY222" fmla="*/ 2861637 h 3681857"/>
              <a:gd name="connsiteX223" fmla="*/ 1323490 w 1868681"/>
              <a:gd name="connsiteY223" fmla="*/ 2861637 h 3681857"/>
              <a:gd name="connsiteX224" fmla="*/ 1220065 w 1868681"/>
              <a:gd name="connsiteY224" fmla="*/ 2945080 h 3681857"/>
              <a:gd name="connsiteX225" fmla="*/ 1194162 w 1868681"/>
              <a:gd name="connsiteY225" fmla="*/ 2958864 h 3681857"/>
              <a:gd name="connsiteX226" fmla="*/ 1183986 w 1868681"/>
              <a:gd name="connsiteY226" fmla="*/ 2960992 h 3681857"/>
              <a:gd name="connsiteX227" fmla="*/ 1127278 w 1868681"/>
              <a:gd name="connsiteY227" fmla="*/ 2934072 h 3681857"/>
              <a:gd name="connsiteX228" fmla="*/ 1168815 w 1868681"/>
              <a:gd name="connsiteY228" fmla="*/ 2880786 h 3681857"/>
              <a:gd name="connsiteX229" fmla="*/ 1221267 w 1868681"/>
              <a:gd name="connsiteY229" fmla="*/ 2918437 h 3681857"/>
              <a:gd name="connsiteX230" fmla="*/ 1229593 w 1868681"/>
              <a:gd name="connsiteY230" fmla="*/ 2903266 h 3681857"/>
              <a:gd name="connsiteX231" fmla="*/ 1231629 w 1868681"/>
              <a:gd name="connsiteY231" fmla="*/ 2886244 h 3681857"/>
              <a:gd name="connsiteX232" fmla="*/ 1217567 w 1868681"/>
              <a:gd name="connsiteY232" fmla="*/ 2852201 h 3681857"/>
              <a:gd name="connsiteX233" fmla="*/ 1217567 w 1868681"/>
              <a:gd name="connsiteY233" fmla="*/ 2852201 h 3681857"/>
              <a:gd name="connsiteX234" fmla="*/ 1217567 w 1868681"/>
              <a:gd name="connsiteY234" fmla="*/ 2852201 h 3681857"/>
              <a:gd name="connsiteX235" fmla="*/ 1238659 w 1868681"/>
              <a:gd name="connsiteY235" fmla="*/ 2812607 h 3681857"/>
              <a:gd name="connsiteX236" fmla="*/ 1236439 w 1868681"/>
              <a:gd name="connsiteY236" fmla="*/ 2795770 h 3681857"/>
              <a:gd name="connsiteX237" fmla="*/ 1232831 w 1868681"/>
              <a:gd name="connsiteY237" fmla="*/ 2787815 h 3681857"/>
              <a:gd name="connsiteX238" fmla="*/ 1174643 w 1868681"/>
              <a:gd name="connsiteY238" fmla="*/ 2815752 h 3681857"/>
              <a:gd name="connsiteX239" fmla="*/ 1143005 w 1868681"/>
              <a:gd name="connsiteY239" fmla="*/ 2756084 h 3681857"/>
              <a:gd name="connsiteX240" fmla="*/ 1213219 w 1868681"/>
              <a:gd name="connsiteY240" fmla="*/ 2743410 h 3681857"/>
              <a:gd name="connsiteX241" fmla="*/ 1231536 w 1868681"/>
              <a:gd name="connsiteY241" fmla="*/ 2757009 h 3681857"/>
              <a:gd name="connsiteX242" fmla="*/ 1262804 w 1868681"/>
              <a:gd name="connsiteY242" fmla="*/ 2461258 h 3681857"/>
              <a:gd name="connsiteX243" fmla="*/ 1207669 w 1868681"/>
              <a:gd name="connsiteY243" fmla="*/ 2259403 h 3681857"/>
              <a:gd name="connsiteX244" fmla="*/ 1257161 w 1868681"/>
              <a:gd name="connsiteY244" fmla="*/ 2305473 h 3681857"/>
              <a:gd name="connsiteX245" fmla="*/ 1215069 w 1868681"/>
              <a:gd name="connsiteY245" fmla="*/ 2354410 h 3681857"/>
              <a:gd name="connsiteX246" fmla="*/ 1281306 w 1868681"/>
              <a:gd name="connsiteY246" fmla="*/ 2356353 h 3681857"/>
              <a:gd name="connsiteX247" fmla="*/ 1344212 w 1868681"/>
              <a:gd name="connsiteY247" fmla="*/ 2377167 h 3681857"/>
              <a:gd name="connsiteX248" fmla="*/ 1321455 w 1868681"/>
              <a:gd name="connsiteY248" fmla="*/ 2316759 h 3681857"/>
              <a:gd name="connsiteX249" fmla="*/ 1383713 w 1868681"/>
              <a:gd name="connsiteY249" fmla="*/ 2290394 h 3681857"/>
              <a:gd name="connsiteX250" fmla="*/ 1262804 w 1868681"/>
              <a:gd name="connsiteY250" fmla="*/ 2461258 h 3681857"/>
              <a:gd name="connsiteX251" fmla="*/ 1147075 w 1868681"/>
              <a:gd name="connsiteY251" fmla="*/ 2063099 h 3681857"/>
              <a:gd name="connsiteX252" fmla="*/ 1139490 w 1868681"/>
              <a:gd name="connsiteY252" fmla="*/ 1984744 h 3681857"/>
              <a:gd name="connsiteX253" fmla="*/ 1173440 w 1868681"/>
              <a:gd name="connsiteY253" fmla="*/ 1913697 h 3681857"/>
              <a:gd name="connsiteX254" fmla="*/ 1223488 w 1868681"/>
              <a:gd name="connsiteY254" fmla="*/ 1852919 h 3681857"/>
              <a:gd name="connsiteX255" fmla="*/ 1297680 w 1868681"/>
              <a:gd name="connsiteY255" fmla="*/ 1826646 h 3681857"/>
              <a:gd name="connsiteX256" fmla="*/ 1376035 w 1868681"/>
              <a:gd name="connsiteY256" fmla="*/ 1819061 h 3681857"/>
              <a:gd name="connsiteX257" fmla="*/ 1447082 w 1868681"/>
              <a:gd name="connsiteY257" fmla="*/ 1853011 h 3681857"/>
              <a:gd name="connsiteX258" fmla="*/ 1507861 w 1868681"/>
              <a:gd name="connsiteY258" fmla="*/ 1903059 h 3681857"/>
              <a:gd name="connsiteX259" fmla="*/ 1534133 w 1868681"/>
              <a:gd name="connsiteY259" fmla="*/ 1977251 h 3681857"/>
              <a:gd name="connsiteX260" fmla="*/ 1541719 w 1868681"/>
              <a:gd name="connsiteY260" fmla="*/ 2055606 h 3681857"/>
              <a:gd name="connsiteX261" fmla="*/ 1507768 w 1868681"/>
              <a:gd name="connsiteY261" fmla="*/ 2126653 h 3681857"/>
              <a:gd name="connsiteX262" fmla="*/ 1457721 w 1868681"/>
              <a:gd name="connsiteY262" fmla="*/ 2187431 h 3681857"/>
              <a:gd name="connsiteX263" fmla="*/ 1383528 w 1868681"/>
              <a:gd name="connsiteY263" fmla="*/ 2213704 h 3681857"/>
              <a:gd name="connsiteX264" fmla="*/ 1305173 w 1868681"/>
              <a:gd name="connsiteY264" fmla="*/ 2221290 h 3681857"/>
              <a:gd name="connsiteX265" fmla="*/ 1234126 w 1868681"/>
              <a:gd name="connsiteY265" fmla="*/ 2187339 h 3681857"/>
              <a:gd name="connsiteX266" fmla="*/ 1173348 w 1868681"/>
              <a:gd name="connsiteY266" fmla="*/ 2137292 h 3681857"/>
              <a:gd name="connsiteX267" fmla="*/ 1147075 w 1868681"/>
              <a:gd name="connsiteY267" fmla="*/ 2063099 h 3681857"/>
              <a:gd name="connsiteX268" fmla="*/ 1298420 w 1868681"/>
              <a:gd name="connsiteY268" fmla="*/ 1444492 h 3681857"/>
              <a:gd name="connsiteX269" fmla="*/ 1350410 w 1868681"/>
              <a:gd name="connsiteY269" fmla="*/ 1403418 h 3681857"/>
              <a:gd name="connsiteX270" fmla="*/ 1412021 w 1868681"/>
              <a:gd name="connsiteY270" fmla="*/ 1378903 h 3681857"/>
              <a:gd name="connsiteX271" fmla="*/ 1355776 w 1868681"/>
              <a:gd name="connsiteY271" fmla="*/ 1347265 h 3681857"/>
              <a:gd name="connsiteX272" fmla="*/ 1386489 w 1868681"/>
              <a:gd name="connsiteY272" fmla="*/ 1287134 h 3681857"/>
              <a:gd name="connsiteX273" fmla="*/ 1403695 w 1868681"/>
              <a:gd name="connsiteY273" fmla="*/ 1495649 h 3681857"/>
              <a:gd name="connsiteX274" fmla="*/ 1231721 w 1868681"/>
              <a:gd name="connsiteY274" fmla="*/ 1376497 h 3681857"/>
              <a:gd name="connsiteX275" fmla="*/ 1299160 w 1868681"/>
              <a:gd name="connsiteY275" fmla="*/ 1379920 h 3681857"/>
              <a:gd name="connsiteX276" fmla="*/ 1298420 w 1868681"/>
              <a:gd name="connsiteY276" fmla="*/ 1444492 h 3681857"/>
              <a:gd name="connsiteX277" fmla="*/ 1372520 w 1868681"/>
              <a:gd name="connsiteY277" fmla="*/ 1544124 h 3681857"/>
              <a:gd name="connsiteX278" fmla="*/ 1261139 w 1868681"/>
              <a:gd name="connsiteY278" fmla="*/ 1661888 h 3681857"/>
              <a:gd name="connsiteX279" fmla="*/ 1080469 w 1868681"/>
              <a:gd name="connsiteY279" fmla="*/ 1595651 h 3681857"/>
              <a:gd name="connsiteX280" fmla="*/ 1227558 w 1868681"/>
              <a:gd name="connsiteY280" fmla="*/ 1471597 h 3681857"/>
              <a:gd name="connsiteX281" fmla="*/ 1372520 w 1868681"/>
              <a:gd name="connsiteY281" fmla="*/ 1544124 h 3681857"/>
              <a:gd name="connsiteX282" fmla="*/ 1083707 w 1868681"/>
              <a:gd name="connsiteY282" fmla="*/ 1653284 h 3681857"/>
              <a:gd name="connsiteX283" fmla="*/ 1226078 w 1868681"/>
              <a:gd name="connsiteY283" fmla="*/ 1682610 h 3681857"/>
              <a:gd name="connsiteX284" fmla="*/ 1231536 w 1868681"/>
              <a:gd name="connsiteY284" fmla="*/ 1684737 h 3681857"/>
              <a:gd name="connsiteX285" fmla="*/ 1241342 w 1868681"/>
              <a:gd name="connsiteY285" fmla="*/ 1689826 h 3681857"/>
              <a:gd name="connsiteX286" fmla="*/ 1249575 w 1868681"/>
              <a:gd name="connsiteY286" fmla="*/ 1696209 h 3681857"/>
              <a:gd name="connsiteX287" fmla="*/ 1253091 w 1868681"/>
              <a:gd name="connsiteY287" fmla="*/ 1700001 h 3681857"/>
              <a:gd name="connsiteX288" fmla="*/ 1258919 w 1868681"/>
              <a:gd name="connsiteY288" fmla="*/ 1708882 h 3681857"/>
              <a:gd name="connsiteX289" fmla="*/ 1265487 w 1868681"/>
              <a:gd name="connsiteY289" fmla="*/ 1756987 h 3681857"/>
              <a:gd name="connsiteX290" fmla="*/ 1197955 w 1868681"/>
              <a:gd name="connsiteY290" fmla="*/ 1759392 h 3681857"/>
              <a:gd name="connsiteX291" fmla="*/ 1193052 w 1868681"/>
              <a:gd name="connsiteY291" fmla="*/ 1695006 h 3681857"/>
              <a:gd name="connsiteX292" fmla="*/ 1176123 w 1868681"/>
              <a:gd name="connsiteY292" fmla="*/ 1698429 h 3681857"/>
              <a:gd name="connsiteX293" fmla="*/ 1144855 w 1868681"/>
              <a:gd name="connsiteY293" fmla="*/ 1740520 h 3681857"/>
              <a:gd name="connsiteX294" fmla="*/ 1144855 w 1868681"/>
              <a:gd name="connsiteY294" fmla="*/ 1740520 h 3681857"/>
              <a:gd name="connsiteX295" fmla="*/ 1144855 w 1868681"/>
              <a:gd name="connsiteY295" fmla="*/ 1740520 h 3681857"/>
              <a:gd name="connsiteX296" fmla="*/ 1125521 w 1868681"/>
              <a:gd name="connsiteY296" fmla="*/ 1740150 h 3681857"/>
              <a:gd name="connsiteX297" fmla="*/ 1094623 w 1868681"/>
              <a:gd name="connsiteY297" fmla="*/ 1755507 h 3681857"/>
              <a:gd name="connsiteX298" fmla="*/ 1085649 w 1868681"/>
              <a:gd name="connsiteY298" fmla="*/ 1770216 h 3681857"/>
              <a:gd name="connsiteX299" fmla="*/ 1144485 w 1868681"/>
              <a:gd name="connsiteY299" fmla="*/ 1796766 h 3681857"/>
              <a:gd name="connsiteX300" fmla="*/ 1119138 w 1868681"/>
              <a:gd name="connsiteY300" fmla="*/ 1859394 h 3681857"/>
              <a:gd name="connsiteX301" fmla="*/ 1076213 w 1868681"/>
              <a:gd name="connsiteY301" fmla="*/ 1836822 h 3681857"/>
              <a:gd name="connsiteX302" fmla="*/ 1069830 w 1868681"/>
              <a:gd name="connsiteY302" fmla="*/ 1828311 h 3681857"/>
              <a:gd name="connsiteX303" fmla="*/ 1064280 w 1868681"/>
              <a:gd name="connsiteY303" fmla="*/ 1813788 h 3681857"/>
              <a:gd name="connsiteX304" fmla="*/ 1062800 w 1868681"/>
              <a:gd name="connsiteY304" fmla="*/ 1802872 h 3681857"/>
              <a:gd name="connsiteX305" fmla="*/ 1062615 w 1868681"/>
              <a:gd name="connsiteY305" fmla="*/ 1797043 h 3681857"/>
              <a:gd name="connsiteX306" fmla="*/ 1063262 w 1868681"/>
              <a:gd name="connsiteY306" fmla="*/ 1784555 h 3681857"/>
              <a:gd name="connsiteX307" fmla="*/ 1083707 w 1868681"/>
              <a:gd name="connsiteY307" fmla="*/ 1653284 h 3681857"/>
              <a:gd name="connsiteX308" fmla="*/ 1618501 w 1868681"/>
              <a:gd name="connsiteY308" fmla="*/ 2249320 h 3681857"/>
              <a:gd name="connsiteX309" fmla="*/ 1597502 w 1868681"/>
              <a:gd name="connsiteY309" fmla="*/ 2387066 h 3681857"/>
              <a:gd name="connsiteX310" fmla="*/ 1467064 w 1868681"/>
              <a:gd name="connsiteY310" fmla="*/ 2361441 h 3681857"/>
              <a:gd name="connsiteX311" fmla="*/ 1449672 w 1868681"/>
              <a:gd name="connsiteY311" fmla="*/ 2355613 h 3681857"/>
              <a:gd name="connsiteX312" fmla="*/ 1439866 w 1868681"/>
              <a:gd name="connsiteY312" fmla="*/ 2350525 h 3681857"/>
              <a:gd name="connsiteX313" fmla="*/ 1431633 w 1868681"/>
              <a:gd name="connsiteY313" fmla="*/ 2344142 h 3681857"/>
              <a:gd name="connsiteX314" fmla="*/ 1415814 w 1868681"/>
              <a:gd name="connsiteY314" fmla="*/ 2283363 h 3681857"/>
              <a:gd name="connsiteX315" fmla="*/ 1483346 w 1868681"/>
              <a:gd name="connsiteY315" fmla="*/ 2280958 h 3681857"/>
              <a:gd name="connsiteX316" fmla="*/ 1488156 w 1868681"/>
              <a:gd name="connsiteY316" fmla="*/ 2345344 h 3681857"/>
              <a:gd name="connsiteX317" fmla="*/ 1505085 w 1868681"/>
              <a:gd name="connsiteY317" fmla="*/ 2341921 h 3681857"/>
              <a:gd name="connsiteX318" fmla="*/ 1536353 w 1868681"/>
              <a:gd name="connsiteY318" fmla="*/ 2299830 h 3681857"/>
              <a:gd name="connsiteX319" fmla="*/ 1536353 w 1868681"/>
              <a:gd name="connsiteY319" fmla="*/ 2299830 h 3681857"/>
              <a:gd name="connsiteX320" fmla="*/ 1536353 w 1868681"/>
              <a:gd name="connsiteY320" fmla="*/ 2299830 h 3681857"/>
              <a:gd name="connsiteX321" fmla="*/ 1562163 w 1868681"/>
              <a:gd name="connsiteY321" fmla="*/ 2298812 h 3681857"/>
              <a:gd name="connsiteX322" fmla="*/ 1569286 w 1868681"/>
              <a:gd name="connsiteY322" fmla="*/ 2296407 h 3681857"/>
              <a:gd name="connsiteX323" fmla="*/ 1580202 w 1868681"/>
              <a:gd name="connsiteY323" fmla="*/ 2290486 h 3681857"/>
              <a:gd name="connsiteX324" fmla="*/ 1595467 w 1868681"/>
              <a:gd name="connsiteY324" fmla="*/ 2270042 h 3681857"/>
              <a:gd name="connsiteX325" fmla="*/ 1536631 w 1868681"/>
              <a:gd name="connsiteY325" fmla="*/ 2243492 h 3681857"/>
              <a:gd name="connsiteX326" fmla="*/ 1561978 w 1868681"/>
              <a:gd name="connsiteY326" fmla="*/ 2180863 h 3681857"/>
              <a:gd name="connsiteX327" fmla="*/ 1615448 w 1868681"/>
              <a:gd name="connsiteY327" fmla="*/ 2221382 h 3681857"/>
              <a:gd name="connsiteX328" fmla="*/ 1618501 w 1868681"/>
              <a:gd name="connsiteY328" fmla="*/ 2243214 h 3681857"/>
              <a:gd name="connsiteX329" fmla="*/ 1618501 w 1868681"/>
              <a:gd name="connsiteY329" fmla="*/ 2249320 h 3681857"/>
              <a:gd name="connsiteX330" fmla="*/ 1781687 w 1868681"/>
              <a:gd name="connsiteY330" fmla="*/ 2097975 h 3681857"/>
              <a:gd name="connsiteX331" fmla="*/ 1579833 w 1868681"/>
              <a:gd name="connsiteY331" fmla="*/ 2153110 h 3681857"/>
              <a:gd name="connsiteX332" fmla="*/ 1625902 w 1868681"/>
              <a:gd name="connsiteY332" fmla="*/ 2103618 h 3681857"/>
              <a:gd name="connsiteX333" fmla="*/ 1674839 w 1868681"/>
              <a:gd name="connsiteY333" fmla="*/ 2145710 h 3681857"/>
              <a:gd name="connsiteX334" fmla="*/ 1676782 w 1868681"/>
              <a:gd name="connsiteY334" fmla="*/ 2079473 h 3681857"/>
              <a:gd name="connsiteX335" fmla="*/ 1697596 w 1868681"/>
              <a:gd name="connsiteY335" fmla="*/ 2016567 h 3681857"/>
              <a:gd name="connsiteX336" fmla="*/ 1637188 w 1868681"/>
              <a:gd name="connsiteY336" fmla="*/ 2039324 h 3681857"/>
              <a:gd name="connsiteX337" fmla="*/ 1610823 w 1868681"/>
              <a:gd name="connsiteY337" fmla="*/ 1977066 h 3681857"/>
              <a:gd name="connsiteX338" fmla="*/ 1781687 w 1868681"/>
              <a:gd name="connsiteY338" fmla="*/ 2097975 h 3681857"/>
              <a:gd name="connsiteX339" fmla="*/ 1536908 w 1868681"/>
              <a:gd name="connsiteY339" fmla="*/ 1746903 h 3681857"/>
              <a:gd name="connsiteX340" fmla="*/ 1707495 w 1868681"/>
              <a:gd name="connsiteY340" fmla="*/ 1763278 h 3681857"/>
              <a:gd name="connsiteX341" fmla="*/ 1707495 w 1868681"/>
              <a:gd name="connsiteY341" fmla="*/ 1763278 h 3681857"/>
              <a:gd name="connsiteX342" fmla="*/ 1707495 w 1868681"/>
              <a:gd name="connsiteY342" fmla="*/ 1763278 h 3681857"/>
              <a:gd name="connsiteX343" fmla="*/ 1697874 w 1868681"/>
              <a:gd name="connsiteY343" fmla="*/ 1804351 h 3681857"/>
              <a:gd name="connsiteX344" fmla="*/ 1692323 w 1868681"/>
              <a:gd name="connsiteY344" fmla="*/ 1836175 h 3681857"/>
              <a:gd name="connsiteX345" fmla="*/ 1689548 w 1868681"/>
              <a:gd name="connsiteY345" fmla="*/ 1853474 h 3681857"/>
              <a:gd name="connsiteX346" fmla="*/ 1688068 w 1868681"/>
              <a:gd name="connsiteY346" fmla="*/ 1862540 h 3681857"/>
              <a:gd name="connsiteX347" fmla="*/ 1670861 w 1868681"/>
              <a:gd name="connsiteY347" fmla="*/ 1920913 h 3681857"/>
              <a:gd name="connsiteX348" fmla="*/ 1664478 w 1868681"/>
              <a:gd name="connsiteY348" fmla="*/ 1929146 h 3681857"/>
              <a:gd name="connsiteX349" fmla="*/ 1603700 w 1868681"/>
              <a:gd name="connsiteY349" fmla="*/ 1944965 h 3681857"/>
              <a:gd name="connsiteX350" fmla="*/ 1601295 w 1868681"/>
              <a:gd name="connsiteY350" fmla="*/ 1877434 h 3681857"/>
              <a:gd name="connsiteX351" fmla="*/ 1665681 w 1868681"/>
              <a:gd name="connsiteY351" fmla="*/ 1872531 h 3681857"/>
              <a:gd name="connsiteX352" fmla="*/ 1664848 w 1868681"/>
              <a:gd name="connsiteY352" fmla="*/ 1863835 h 3681857"/>
              <a:gd name="connsiteX353" fmla="*/ 1659760 w 1868681"/>
              <a:gd name="connsiteY353" fmla="*/ 1850699 h 3681857"/>
              <a:gd name="connsiteX354" fmla="*/ 1654117 w 1868681"/>
              <a:gd name="connsiteY354" fmla="*/ 1842743 h 3681857"/>
              <a:gd name="connsiteX355" fmla="*/ 1653007 w 1868681"/>
              <a:gd name="connsiteY355" fmla="*/ 1841355 h 3681857"/>
              <a:gd name="connsiteX356" fmla="*/ 1620351 w 1868681"/>
              <a:gd name="connsiteY356" fmla="*/ 1824333 h 3681857"/>
              <a:gd name="connsiteX357" fmla="*/ 1620351 w 1868681"/>
              <a:gd name="connsiteY357" fmla="*/ 1824333 h 3681857"/>
              <a:gd name="connsiteX358" fmla="*/ 1620351 w 1868681"/>
              <a:gd name="connsiteY358" fmla="*/ 1824333 h 3681857"/>
              <a:gd name="connsiteX359" fmla="*/ 1598519 w 1868681"/>
              <a:gd name="connsiteY359" fmla="*/ 1768921 h 3681857"/>
              <a:gd name="connsiteX360" fmla="*/ 1590656 w 1868681"/>
              <a:gd name="connsiteY360" fmla="*/ 1765128 h 3681857"/>
              <a:gd name="connsiteX361" fmla="*/ 1564106 w 1868681"/>
              <a:gd name="connsiteY361" fmla="*/ 1823964 h 3681857"/>
              <a:gd name="connsiteX362" fmla="*/ 1501477 w 1868681"/>
              <a:gd name="connsiteY362" fmla="*/ 1798616 h 3681857"/>
              <a:gd name="connsiteX363" fmla="*/ 1536908 w 1868681"/>
              <a:gd name="connsiteY363" fmla="*/ 1746903 h 3681857"/>
              <a:gd name="connsiteX364" fmla="*/ 1473540 w 1868681"/>
              <a:gd name="connsiteY364" fmla="*/ 1780947 h 3681857"/>
              <a:gd name="connsiteX365" fmla="*/ 1424047 w 1868681"/>
              <a:gd name="connsiteY365" fmla="*/ 1734877 h 3681857"/>
              <a:gd name="connsiteX366" fmla="*/ 1466139 w 1868681"/>
              <a:gd name="connsiteY366" fmla="*/ 1685940 h 3681857"/>
              <a:gd name="connsiteX367" fmla="*/ 1399903 w 1868681"/>
              <a:gd name="connsiteY367" fmla="*/ 1683997 h 3681857"/>
              <a:gd name="connsiteX368" fmla="*/ 1336996 w 1868681"/>
              <a:gd name="connsiteY368" fmla="*/ 1663183 h 3681857"/>
              <a:gd name="connsiteX369" fmla="*/ 1359753 w 1868681"/>
              <a:gd name="connsiteY369" fmla="*/ 1723591 h 3681857"/>
              <a:gd name="connsiteX370" fmla="*/ 1297495 w 1868681"/>
              <a:gd name="connsiteY370" fmla="*/ 1749956 h 3681857"/>
              <a:gd name="connsiteX371" fmla="*/ 1418312 w 1868681"/>
              <a:gd name="connsiteY371" fmla="*/ 1579185 h 3681857"/>
              <a:gd name="connsiteX372" fmla="*/ 1473540 w 1868681"/>
              <a:gd name="connsiteY372" fmla="*/ 1780947 h 3681857"/>
              <a:gd name="connsiteX373" fmla="*/ 1612303 w 1868681"/>
              <a:gd name="connsiteY373" fmla="*/ 1223673 h 3681857"/>
              <a:gd name="connsiteX374" fmla="*/ 1612303 w 1868681"/>
              <a:gd name="connsiteY374" fmla="*/ 1223673 h 3681857"/>
              <a:gd name="connsiteX375" fmla="*/ 1612303 w 1868681"/>
              <a:gd name="connsiteY375" fmla="*/ 1223673 h 3681857"/>
              <a:gd name="connsiteX376" fmla="*/ 1490099 w 1868681"/>
              <a:gd name="connsiteY376" fmla="*/ 1290557 h 3681857"/>
              <a:gd name="connsiteX377" fmla="*/ 1484363 w 1868681"/>
              <a:gd name="connsiteY377" fmla="*/ 1292777 h 3681857"/>
              <a:gd name="connsiteX378" fmla="*/ 1473355 w 1868681"/>
              <a:gd name="connsiteY378" fmla="*/ 1296015 h 3681857"/>
              <a:gd name="connsiteX379" fmla="*/ 1406378 w 1868681"/>
              <a:gd name="connsiteY379" fmla="*/ 1260954 h 3681857"/>
              <a:gd name="connsiteX380" fmla="*/ 1456518 w 1868681"/>
              <a:gd name="connsiteY380" fmla="*/ 1215717 h 3681857"/>
              <a:gd name="connsiteX381" fmla="*/ 1501570 w 1868681"/>
              <a:gd name="connsiteY381" fmla="*/ 1261879 h 3681857"/>
              <a:gd name="connsiteX382" fmla="*/ 1512393 w 1868681"/>
              <a:gd name="connsiteY382" fmla="*/ 1248372 h 3681857"/>
              <a:gd name="connsiteX383" fmla="*/ 1509341 w 1868681"/>
              <a:gd name="connsiteY383" fmla="*/ 1196012 h 3681857"/>
              <a:gd name="connsiteX384" fmla="*/ 1509341 w 1868681"/>
              <a:gd name="connsiteY384" fmla="*/ 1196012 h 3681857"/>
              <a:gd name="connsiteX385" fmla="*/ 1509341 w 1868681"/>
              <a:gd name="connsiteY385" fmla="*/ 1196012 h 3681857"/>
              <a:gd name="connsiteX386" fmla="*/ 1529970 w 1868681"/>
              <a:gd name="connsiteY386" fmla="*/ 1176586 h 3681857"/>
              <a:gd name="connsiteX387" fmla="*/ 1536908 w 1868681"/>
              <a:gd name="connsiteY387" fmla="*/ 1160582 h 3681857"/>
              <a:gd name="connsiteX388" fmla="*/ 1535521 w 1868681"/>
              <a:gd name="connsiteY388" fmla="*/ 1135049 h 3681857"/>
              <a:gd name="connsiteX389" fmla="*/ 1473355 w 1868681"/>
              <a:gd name="connsiteY389" fmla="*/ 1152441 h 3681857"/>
              <a:gd name="connsiteX390" fmla="*/ 1452540 w 1868681"/>
              <a:gd name="connsiteY390" fmla="*/ 1088147 h 3681857"/>
              <a:gd name="connsiteX391" fmla="*/ 1523865 w 1868681"/>
              <a:gd name="connsiteY391" fmla="*/ 1087777 h 3681857"/>
              <a:gd name="connsiteX392" fmla="*/ 1529970 w 1868681"/>
              <a:gd name="connsiteY392" fmla="*/ 1093235 h 3681857"/>
              <a:gd name="connsiteX393" fmla="*/ 1535891 w 1868681"/>
              <a:gd name="connsiteY393" fmla="*/ 1099618 h 3681857"/>
              <a:gd name="connsiteX394" fmla="*/ 1549490 w 1868681"/>
              <a:gd name="connsiteY394" fmla="*/ 1118952 h 3681857"/>
              <a:gd name="connsiteX395" fmla="*/ 1553467 w 1868681"/>
              <a:gd name="connsiteY395" fmla="*/ 1125428 h 3681857"/>
              <a:gd name="connsiteX396" fmla="*/ 1555595 w 1868681"/>
              <a:gd name="connsiteY396" fmla="*/ 1129128 h 3681857"/>
              <a:gd name="connsiteX397" fmla="*/ 1561423 w 1868681"/>
              <a:gd name="connsiteY397" fmla="*/ 1139489 h 3681857"/>
              <a:gd name="connsiteX398" fmla="*/ 1612303 w 1868681"/>
              <a:gd name="connsiteY398" fmla="*/ 1223673 h 3681857"/>
              <a:gd name="connsiteX399" fmla="*/ 1567621 w 1868681"/>
              <a:gd name="connsiteY399" fmla="*/ 883795 h 3681857"/>
              <a:gd name="connsiteX400" fmla="*/ 1448470 w 1868681"/>
              <a:gd name="connsiteY400" fmla="*/ 1055769 h 3681857"/>
              <a:gd name="connsiteX401" fmla="*/ 1451985 w 1868681"/>
              <a:gd name="connsiteY401" fmla="*/ 988330 h 3681857"/>
              <a:gd name="connsiteX402" fmla="*/ 1516556 w 1868681"/>
              <a:gd name="connsiteY402" fmla="*/ 989070 h 3681857"/>
              <a:gd name="connsiteX403" fmla="*/ 1475482 w 1868681"/>
              <a:gd name="connsiteY403" fmla="*/ 937080 h 3681857"/>
              <a:gd name="connsiteX404" fmla="*/ 1450967 w 1868681"/>
              <a:gd name="connsiteY404" fmla="*/ 875469 h 3681857"/>
              <a:gd name="connsiteX405" fmla="*/ 1419329 w 1868681"/>
              <a:gd name="connsiteY405" fmla="*/ 931714 h 3681857"/>
              <a:gd name="connsiteX406" fmla="*/ 1359198 w 1868681"/>
              <a:gd name="connsiteY406" fmla="*/ 901001 h 3681857"/>
              <a:gd name="connsiteX407" fmla="*/ 1567621 w 1868681"/>
              <a:gd name="connsiteY407" fmla="*/ 883795 h 3681857"/>
              <a:gd name="connsiteX408" fmla="*/ 1154476 w 1868681"/>
              <a:gd name="connsiteY408" fmla="*/ 772229 h 3681857"/>
              <a:gd name="connsiteX409" fmla="*/ 1163449 w 1868681"/>
              <a:gd name="connsiteY409" fmla="*/ 759277 h 3681857"/>
              <a:gd name="connsiteX410" fmla="*/ 1171775 w 1868681"/>
              <a:gd name="connsiteY410" fmla="*/ 751414 h 3681857"/>
              <a:gd name="connsiteX411" fmla="*/ 1295552 w 1868681"/>
              <a:gd name="connsiteY411" fmla="*/ 675187 h 3681857"/>
              <a:gd name="connsiteX412" fmla="*/ 1295552 w 1868681"/>
              <a:gd name="connsiteY412" fmla="*/ 675187 h 3681857"/>
              <a:gd name="connsiteX413" fmla="*/ 1295552 w 1868681"/>
              <a:gd name="connsiteY413" fmla="*/ 675187 h 3681857"/>
              <a:gd name="connsiteX414" fmla="*/ 1304988 w 1868681"/>
              <a:gd name="connsiteY414" fmla="*/ 694799 h 3681857"/>
              <a:gd name="connsiteX415" fmla="*/ 1311279 w 1868681"/>
              <a:gd name="connsiteY415" fmla="*/ 706732 h 3681857"/>
              <a:gd name="connsiteX416" fmla="*/ 1331076 w 1868681"/>
              <a:gd name="connsiteY416" fmla="*/ 741331 h 3681857"/>
              <a:gd name="connsiteX417" fmla="*/ 1344397 w 1868681"/>
              <a:gd name="connsiteY417" fmla="*/ 763533 h 3681857"/>
              <a:gd name="connsiteX418" fmla="*/ 1359753 w 1868681"/>
              <a:gd name="connsiteY418" fmla="*/ 791471 h 3681857"/>
              <a:gd name="connsiteX419" fmla="*/ 1365119 w 1868681"/>
              <a:gd name="connsiteY419" fmla="*/ 804422 h 3681857"/>
              <a:gd name="connsiteX420" fmla="*/ 1367617 w 1868681"/>
              <a:gd name="connsiteY420" fmla="*/ 812933 h 3681857"/>
              <a:gd name="connsiteX421" fmla="*/ 1368819 w 1868681"/>
              <a:gd name="connsiteY421" fmla="*/ 819408 h 3681857"/>
              <a:gd name="connsiteX422" fmla="*/ 1369189 w 1868681"/>
              <a:gd name="connsiteY422" fmla="*/ 829862 h 3681857"/>
              <a:gd name="connsiteX423" fmla="*/ 1368542 w 1868681"/>
              <a:gd name="connsiteY423" fmla="*/ 834950 h 3681857"/>
              <a:gd name="connsiteX424" fmla="*/ 1365489 w 1868681"/>
              <a:gd name="connsiteY424" fmla="*/ 845033 h 3681857"/>
              <a:gd name="connsiteX425" fmla="*/ 1332833 w 1868681"/>
              <a:gd name="connsiteY425" fmla="*/ 881019 h 3681857"/>
              <a:gd name="connsiteX426" fmla="*/ 1287597 w 1868681"/>
              <a:gd name="connsiteY426" fmla="*/ 830879 h 3681857"/>
              <a:gd name="connsiteX427" fmla="*/ 1333758 w 1868681"/>
              <a:gd name="connsiteY427" fmla="*/ 785827 h 3681857"/>
              <a:gd name="connsiteX428" fmla="*/ 1312389 w 1868681"/>
              <a:gd name="connsiteY428" fmla="*/ 771859 h 3681857"/>
              <a:gd name="connsiteX429" fmla="*/ 1295090 w 1868681"/>
              <a:gd name="connsiteY429" fmla="*/ 769916 h 3681857"/>
              <a:gd name="connsiteX430" fmla="*/ 1267985 w 1868681"/>
              <a:gd name="connsiteY430" fmla="*/ 778149 h 3681857"/>
              <a:gd name="connsiteX431" fmla="*/ 1267985 w 1868681"/>
              <a:gd name="connsiteY431" fmla="*/ 778149 h 3681857"/>
              <a:gd name="connsiteX432" fmla="*/ 1267985 w 1868681"/>
              <a:gd name="connsiteY432" fmla="*/ 778149 h 3681857"/>
              <a:gd name="connsiteX433" fmla="*/ 1232646 w 1868681"/>
              <a:gd name="connsiteY433" fmla="*/ 750489 h 3681857"/>
              <a:gd name="connsiteX434" fmla="*/ 1207114 w 1868681"/>
              <a:gd name="connsiteY434" fmla="*/ 751877 h 3681857"/>
              <a:gd name="connsiteX435" fmla="*/ 1224598 w 1868681"/>
              <a:gd name="connsiteY435" fmla="*/ 814043 h 3681857"/>
              <a:gd name="connsiteX436" fmla="*/ 1160304 w 1868681"/>
              <a:gd name="connsiteY436" fmla="*/ 834857 h 3681857"/>
              <a:gd name="connsiteX437" fmla="*/ 1152071 w 1868681"/>
              <a:gd name="connsiteY437" fmla="*/ 812008 h 3681857"/>
              <a:gd name="connsiteX438" fmla="*/ 1149851 w 1868681"/>
              <a:gd name="connsiteY438" fmla="*/ 798964 h 3681857"/>
              <a:gd name="connsiteX439" fmla="*/ 1154476 w 1868681"/>
              <a:gd name="connsiteY439" fmla="*/ 772229 h 3681857"/>
              <a:gd name="connsiteX440" fmla="*/ 1153828 w 1868681"/>
              <a:gd name="connsiteY440" fmla="*/ 911177 h 3681857"/>
              <a:gd name="connsiteX441" fmla="*/ 1232554 w 1868681"/>
              <a:gd name="connsiteY441" fmla="*/ 910437 h 3681857"/>
              <a:gd name="connsiteX442" fmla="*/ 1300363 w 1868681"/>
              <a:gd name="connsiteY442" fmla="*/ 950401 h 3681857"/>
              <a:gd name="connsiteX443" fmla="*/ 1356516 w 1868681"/>
              <a:gd name="connsiteY443" fmla="*/ 1005536 h 3681857"/>
              <a:gd name="connsiteX444" fmla="*/ 1376220 w 1868681"/>
              <a:gd name="connsiteY444" fmla="*/ 1081764 h 3681857"/>
              <a:gd name="connsiteX445" fmla="*/ 1376960 w 1868681"/>
              <a:gd name="connsiteY445" fmla="*/ 1160489 h 3681857"/>
              <a:gd name="connsiteX446" fmla="*/ 1336996 w 1868681"/>
              <a:gd name="connsiteY446" fmla="*/ 1228298 h 3681857"/>
              <a:gd name="connsiteX447" fmla="*/ 1281861 w 1868681"/>
              <a:gd name="connsiteY447" fmla="*/ 1284451 h 3681857"/>
              <a:gd name="connsiteX448" fmla="*/ 1205634 w 1868681"/>
              <a:gd name="connsiteY448" fmla="*/ 1304155 h 3681857"/>
              <a:gd name="connsiteX449" fmla="*/ 1126908 w 1868681"/>
              <a:gd name="connsiteY449" fmla="*/ 1304895 h 3681857"/>
              <a:gd name="connsiteX450" fmla="*/ 1059099 w 1868681"/>
              <a:gd name="connsiteY450" fmla="*/ 1264932 h 3681857"/>
              <a:gd name="connsiteX451" fmla="*/ 1002946 w 1868681"/>
              <a:gd name="connsiteY451" fmla="*/ 1209796 h 3681857"/>
              <a:gd name="connsiteX452" fmla="*/ 983242 w 1868681"/>
              <a:gd name="connsiteY452" fmla="*/ 1133569 h 3681857"/>
              <a:gd name="connsiteX453" fmla="*/ 982502 w 1868681"/>
              <a:gd name="connsiteY453" fmla="*/ 1054844 h 3681857"/>
              <a:gd name="connsiteX454" fmla="*/ 1022466 w 1868681"/>
              <a:gd name="connsiteY454" fmla="*/ 987035 h 3681857"/>
              <a:gd name="connsiteX455" fmla="*/ 1077601 w 1868681"/>
              <a:gd name="connsiteY455" fmla="*/ 930882 h 3681857"/>
              <a:gd name="connsiteX456" fmla="*/ 1153828 w 1868681"/>
              <a:gd name="connsiteY456" fmla="*/ 911177 h 3681857"/>
              <a:gd name="connsiteX457" fmla="*/ 955767 w 1868681"/>
              <a:gd name="connsiteY457" fmla="*/ 719869 h 3681857"/>
              <a:gd name="connsiteX458" fmla="*/ 1127741 w 1868681"/>
              <a:gd name="connsiteY458" fmla="*/ 839020 h 3681857"/>
              <a:gd name="connsiteX459" fmla="*/ 1060302 w 1868681"/>
              <a:gd name="connsiteY459" fmla="*/ 835597 h 3681857"/>
              <a:gd name="connsiteX460" fmla="*/ 1061042 w 1868681"/>
              <a:gd name="connsiteY460" fmla="*/ 771026 h 3681857"/>
              <a:gd name="connsiteX461" fmla="*/ 1009052 w 1868681"/>
              <a:gd name="connsiteY461" fmla="*/ 812100 h 3681857"/>
              <a:gd name="connsiteX462" fmla="*/ 947441 w 1868681"/>
              <a:gd name="connsiteY462" fmla="*/ 836615 h 3681857"/>
              <a:gd name="connsiteX463" fmla="*/ 1003686 w 1868681"/>
              <a:gd name="connsiteY463" fmla="*/ 868253 h 3681857"/>
              <a:gd name="connsiteX464" fmla="*/ 972973 w 1868681"/>
              <a:gd name="connsiteY464" fmla="*/ 928384 h 3681857"/>
              <a:gd name="connsiteX465" fmla="*/ 955767 w 1868681"/>
              <a:gd name="connsiteY465" fmla="*/ 719869 h 3681857"/>
              <a:gd name="connsiteX466" fmla="*/ 890825 w 1868681"/>
              <a:gd name="connsiteY466" fmla="*/ 665381 h 3681857"/>
              <a:gd name="connsiteX467" fmla="*/ 682495 w 1868681"/>
              <a:gd name="connsiteY467" fmla="*/ 684623 h 3681857"/>
              <a:gd name="connsiteX468" fmla="*/ 736428 w 1868681"/>
              <a:gd name="connsiteY468" fmla="*/ 643919 h 3681857"/>
              <a:gd name="connsiteX469" fmla="*/ 777317 w 1868681"/>
              <a:gd name="connsiteY469" fmla="*/ 693874 h 3681857"/>
              <a:gd name="connsiteX470" fmla="*/ 790731 w 1868681"/>
              <a:gd name="connsiteY470" fmla="*/ 628932 h 3681857"/>
              <a:gd name="connsiteX471" fmla="*/ 822184 w 1868681"/>
              <a:gd name="connsiteY471" fmla="*/ 570559 h 3681857"/>
              <a:gd name="connsiteX472" fmla="*/ 758723 w 1868681"/>
              <a:gd name="connsiteY472" fmla="*/ 582493 h 3681857"/>
              <a:gd name="connsiteX473" fmla="*/ 743551 w 1868681"/>
              <a:gd name="connsiteY473" fmla="*/ 516626 h 3681857"/>
              <a:gd name="connsiteX474" fmla="*/ 890825 w 1868681"/>
              <a:gd name="connsiteY474" fmla="*/ 665381 h 3681857"/>
              <a:gd name="connsiteX475" fmla="*/ 696371 w 1868681"/>
              <a:gd name="connsiteY475" fmla="*/ 283504 h 3681857"/>
              <a:gd name="connsiteX476" fmla="*/ 705807 w 1868681"/>
              <a:gd name="connsiteY476" fmla="*/ 278693 h 3681857"/>
              <a:gd name="connsiteX477" fmla="*/ 732080 w 1868681"/>
              <a:gd name="connsiteY477" fmla="*/ 276195 h 3681857"/>
              <a:gd name="connsiteX478" fmla="*/ 743829 w 1868681"/>
              <a:gd name="connsiteY478" fmla="*/ 278323 h 3681857"/>
              <a:gd name="connsiteX479" fmla="*/ 750027 w 1868681"/>
              <a:gd name="connsiteY479" fmla="*/ 279896 h 3681857"/>
              <a:gd name="connsiteX480" fmla="*/ 773061 w 1868681"/>
              <a:gd name="connsiteY480" fmla="*/ 287482 h 3681857"/>
              <a:gd name="connsiteX481" fmla="*/ 789435 w 1868681"/>
              <a:gd name="connsiteY481" fmla="*/ 293680 h 3681857"/>
              <a:gd name="connsiteX482" fmla="*/ 794153 w 1868681"/>
              <a:gd name="connsiteY482" fmla="*/ 295530 h 3681857"/>
              <a:gd name="connsiteX483" fmla="*/ 806642 w 1868681"/>
              <a:gd name="connsiteY483" fmla="*/ 300340 h 3681857"/>
              <a:gd name="connsiteX484" fmla="*/ 814320 w 1868681"/>
              <a:gd name="connsiteY484" fmla="*/ 303208 h 3681857"/>
              <a:gd name="connsiteX485" fmla="*/ 844941 w 1868681"/>
              <a:gd name="connsiteY485" fmla="*/ 313939 h 3681857"/>
              <a:gd name="connsiteX486" fmla="*/ 875746 w 1868681"/>
              <a:gd name="connsiteY486" fmla="*/ 322912 h 3681857"/>
              <a:gd name="connsiteX487" fmla="*/ 875746 w 1868681"/>
              <a:gd name="connsiteY487" fmla="*/ 322912 h 3681857"/>
              <a:gd name="connsiteX488" fmla="*/ 875746 w 1868681"/>
              <a:gd name="connsiteY488" fmla="*/ 322912 h 3681857"/>
              <a:gd name="connsiteX489" fmla="*/ 819131 w 1868681"/>
              <a:gd name="connsiteY489" fmla="*/ 463064 h 3681857"/>
              <a:gd name="connsiteX490" fmla="*/ 808677 w 1868681"/>
              <a:gd name="connsiteY490" fmla="*/ 475552 h 3681857"/>
              <a:gd name="connsiteX491" fmla="*/ 800352 w 1868681"/>
              <a:gd name="connsiteY491" fmla="*/ 481658 h 3681857"/>
              <a:gd name="connsiteX492" fmla="*/ 742071 w 1868681"/>
              <a:gd name="connsiteY492" fmla="*/ 483971 h 3681857"/>
              <a:gd name="connsiteX493" fmla="*/ 751414 w 1868681"/>
              <a:gd name="connsiteY493" fmla="*/ 417087 h 3681857"/>
              <a:gd name="connsiteX494" fmla="*/ 815616 w 1868681"/>
              <a:gd name="connsiteY494" fmla="*/ 423470 h 3681857"/>
              <a:gd name="connsiteX495" fmla="*/ 812563 w 1868681"/>
              <a:gd name="connsiteY495" fmla="*/ 398122 h 3681857"/>
              <a:gd name="connsiteX496" fmla="*/ 779167 w 1868681"/>
              <a:gd name="connsiteY496" fmla="*/ 368057 h 3681857"/>
              <a:gd name="connsiteX497" fmla="*/ 779167 w 1868681"/>
              <a:gd name="connsiteY497" fmla="*/ 368057 h 3681857"/>
              <a:gd name="connsiteX498" fmla="*/ 779167 w 1868681"/>
              <a:gd name="connsiteY498" fmla="*/ 368057 h 3681857"/>
              <a:gd name="connsiteX499" fmla="*/ 782867 w 1868681"/>
              <a:gd name="connsiteY499" fmla="*/ 349093 h 3681857"/>
              <a:gd name="connsiteX500" fmla="*/ 782775 w 1868681"/>
              <a:gd name="connsiteY500" fmla="*/ 347520 h 3681857"/>
              <a:gd name="connsiteX501" fmla="*/ 781295 w 1868681"/>
              <a:gd name="connsiteY501" fmla="*/ 334291 h 3681857"/>
              <a:gd name="connsiteX502" fmla="*/ 772969 w 1868681"/>
              <a:gd name="connsiteY502" fmla="*/ 315974 h 3681857"/>
              <a:gd name="connsiteX503" fmla="*/ 760018 w 1868681"/>
              <a:gd name="connsiteY503" fmla="*/ 304596 h 3681857"/>
              <a:gd name="connsiteX504" fmla="*/ 723662 w 1868681"/>
              <a:gd name="connsiteY504" fmla="*/ 357881 h 3681857"/>
              <a:gd name="connsiteX505" fmla="*/ 666398 w 1868681"/>
              <a:gd name="connsiteY505" fmla="*/ 321987 h 3681857"/>
              <a:gd name="connsiteX506" fmla="*/ 696371 w 1868681"/>
              <a:gd name="connsiteY506" fmla="*/ 283504 h 3681857"/>
              <a:gd name="connsiteX507" fmla="*/ 623197 w 1868681"/>
              <a:gd name="connsiteY507" fmla="*/ 91270 h 3681857"/>
              <a:gd name="connsiteX508" fmla="*/ 642439 w 1868681"/>
              <a:gd name="connsiteY508" fmla="*/ 299600 h 3681857"/>
              <a:gd name="connsiteX509" fmla="*/ 601735 w 1868681"/>
              <a:gd name="connsiteY509" fmla="*/ 245667 h 3681857"/>
              <a:gd name="connsiteX510" fmla="*/ 651690 w 1868681"/>
              <a:gd name="connsiteY510" fmla="*/ 204778 h 3681857"/>
              <a:gd name="connsiteX511" fmla="*/ 586748 w 1868681"/>
              <a:gd name="connsiteY511" fmla="*/ 191365 h 3681857"/>
              <a:gd name="connsiteX512" fmla="*/ 528375 w 1868681"/>
              <a:gd name="connsiteY512" fmla="*/ 159912 h 3681857"/>
              <a:gd name="connsiteX513" fmla="*/ 540309 w 1868681"/>
              <a:gd name="connsiteY513" fmla="*/ 223373 h 3681857"/>
              <a:gd name="connsiteX514" fmla="*/ 474442 w 1868681"/>
              <a:gd name="connsiteY514" fmla="*/ 238544 h 3681857"/>
              <a:gd name="connsiteX515" fmla="*/ 623197 w 1868681"/>
              <a:gd name="connsiteY515" fmla="*/ 91270 h 3681857"/>
              <a:gd name="connsiteX516" fmla="*/ 236047 w 1868681"/>
              <a:gd name="connsiteY516" fmla="*/ 238267 h 3681857"/>
              <a:gd name="connsiteX517" fmla="*/ 280636 w 1868681"/>
              <a:gd name="connsiteY517" fmla="*/ 106256 h 3681857"/>
              <a:gd name="connsiteX518" fmla="*/ 382581 w 1868681"/>
              <a:gd name="connsiteY518" fmla="*/ 145295 h 3681857"/>
              <a:gd name="connsiteX519" fmla="*/ 387761 w 1868681"/>
              <a:gd name="connsiteY519" fmla="*/ 147238 h 3681857"/>
              <a:gd name="connsiteX520" fmla="*/ 402008 w 1868681"/>
              <a:gd name="connsiteY520" fmla="*/ 152973 h 3681857"/>
              <a:gd name="connsiteX521" fmla="*/ 410426 w 1868681"/>
              <a:gd name="connsiteY521" fmla="*/ 156951 h 3681857"/>
              <a:gd name="connsiteX522" fmla="*/ 418844 w 1868681"/>
              <a:gd name="connsiteY522" fmla="*/ 161762 h 3681857"/>
              <a:gd name="connsiteX523" fmla="*/ 425320 w 1868681"/>
              <a:gd name="connsiteY523" fmla="*/ 166202 h 3681857"/>
              <a:gd name="connsiteX524" fmla="*/ 433183 w 1868681"/>
              <a:gd name="connsiteY524" fmla="*/ 173418 h 3681857"/>
              <a:gd name="connsiteX525" fmla="*/ 439289 w 1868681"/>
              <a:gd name="connsiteY525" fmla="*/ 181744 h 3681857"/>
              <a:gd name="connsiteX526" fmla="*/ 441602 w 1868681"/>
              <a:gd name="connsiteY526" fmla="*/ 240024 h 3681857"/>
              <a:gd name="connsiteX527" fmla="*/ 374718 w 1868681"/>
              <a:gd name="connsiteY527" fmla="*/ 230681 h 3681857"/>
              <a:gd name="connsiteX528" fmla="*/ 381101 w 1868681"/>
              <a:gd name="connsiteY528" fmla="*/ 166480 h 3681857"/>
              <a:gd name="connsiteX529" fmla="*/ 372312 w 1868681"/>
              <a:gd name="connsiteY529" fmla="*/ 165832 h 3681857"/>
              <a:gd name="connsiteX530" fmla="*/ 344005 w 1868681"/>
              <a:gd name="connsiteY530" fmla="*/ 176933 h 3681857"/>
              <a:gd name="connsiteX531" fmla="*/ 341137 w 1868681"/>
              <a:gd name="connsiteY531" fmla="*/ 179246 h 3681857"/>
              <a:gd name="connsiteX532" fmla="*/ 325595 w 1868681"/>
              <a:gd name="connsiteY532" fmla="*/ 202928 h 3681857"/>
              <a:gd name="connsiteX533" fmla="*/ 325595 w 1868681"/>
              <a:gd name="connsiteY533" fmla="*/ 202928 h 3681857"/>
              <a:gd name="connsiteX534" fmla="*/ 325595 w 1868681"/>
              <a:gd name="connsiteY534" fmla="*/ 202928 h 3681857"/>
              <a:gd name="connsiteX535" fmla="*/ 267222 w 1868681"/>
              <a:gd name="connsiteY535" fmla="*/ 214862 h 3681857"/>
              <a:gd name="connsiteX536" fmla="*/ 262134 w 1868681"/>
              <a:gd name="connsiteY536" fmla="*/ 221985 h 3681857"/>
              <a:gd name="connsiteX537" fmla="*/ 315419 w 1868681"/>
              <a:gd name="connsiteY537" fmla="*/ 258341 h 3681857"/>
              <a:gd name="connsiteX538" fmla="*/ 279526 w 1868681"/>
              <a:gd name="connsiteY538" fmla="*/ 315604 h 3681857"/>
              <a:gd name="connsiteX539" fmla="*/ 233919 w 1868681"/>
              <a:gd name="connsiteY539" fmla="*/ 266389 h 3681857"/>
              <a:gd name="connsiteX540" fmla="*/ 236047 w 1868681"/>
              <a:gd name="connsiteY540" fmla="*/ 238267 h 3681857"/>
              <a:gd name="connsiteX541" fmla="*/ 49086 w 1868681"/>
              <a:gd name="connsiteY541" fmla="*/ 358991 h 3681857"/>
              <a:gd name="connsiteX542" fmla="*/ 257416 w 1868681"/>
              <a:gd name="connsiteY542" fmla="*/ 339749 h 3681857"/>
              <a:gd name="connsiteX543" fmla="*/ 203483 w 1868681"/>
              <a:gd name="connsiteY543" fmla="*/ 380453 h 3681857"/>
              <a:gd name="connsiteX544" fmla="*/ 162594 w 1868681"/>
              <a:gd name="connsiteY544" fmla="*/ 330498 h 3681857"/>
              <a:gd name="connsiteX545" fmla="*/ 149181 w 1868681"/>
              <a:gd name="connsiteY545" fmla="*/ 395440 h 3681857"/>
              <a:gd name="connsiteX546" fmla="*/ 117728 w 1868681"/>
              <a:gd name="connsiteY546" fmla="*/ 453813 h 3681857"/>
              <a:gd name="connsiteX547" fmla="*/ 181189 w 1868681"/>
              <a:gd name="connsiteY547" fmla="*/ 441879 h 3681857"/>
              <a:gd name="connsiteX548" fmla="*/ 196360 w 1868681"/>
              <a:gd name="connsiteY548" fmla="*/ 507745 h 3681857"/>
              <a:gd name="connsiteX549" fmla="*/ 49086 w 1868681"/>
              <a:gd name="connsiteY549" fmla="*/ 358991 h 3681857"/>
              <a:gd name="connsiteX550" fmla="*/ 207831 w 1868681"/>
              <a:gd name="connsiteY550" fmla="*/ 748176 h 3681857"/>
              <a:gd name="connsiteX551" fmla="*/ 196083 w 1868681"/>
              <a:gd name="connsiteY551" fmla="*/ 746049 h 3681857"/>
              <a:gd name="connsiteX552" fmla="*/ 185352 w 1868681"/>
              <a:gd name="connsiteY552" fmla="*/ 743181 h 3681857"/>
              <a:gd name="connsiteX553" fmla="*/ 181281 w 1868681"/>
              <a:gd name="connsiteY553" fmla="*/ 741886 h 3681857"/>
              <a:gd name="connsiteX554" fmla="*/ 173418 w 1868681"/>
              <a:gd name="connsiteY554" fmla="*/ 739295 h 3681857"/>
              <a:gd name="connsiteX555" fmla="*/ 136322 w 1868681"/>
              <a:gd name="connsiteY555" fmla="*/ 725327 h 3681857"/>
              <a:gd name="connsiteX556" fmla="*/ 125498 w 1868681"/>
              <a:gd name="connsiteY556" fmla="*/ 721256 h 3681857"/>
              <a:gd name="connsiteX557" fmla="*/ 64072 w 1868681"/>
              <a:gd name="connsiteY557" fmla="*/ 701459 h 3681857"/>
              <a:gd name="connsiteX558" fmla="*/ 120688 w 1868681"/>
              <a:gd name="connsiteY558" fmla="*/ 561308 h 3681857"/>
              <a:gd name="connsiteX559" fmla="*/ 127441 w 1868681"/>
              <a:gd name="connsiteY559" fmla="*/ 552612 h 3681857"/>
              <a:gd name="connsiteX560" fmla="*/ 135212 w 1868681"/>
              <a:gd name="connsiteY560" fmla="*/ 545674 h 3681857"/>
              <a:gd name="connsiteX561" fmla="*/ 149273 w 1868681"/>
              <a:gd name="connsiteY561" fmla="*/ 538736 h 3681857"/>
              <a:gd name="connsiteX562" fmla="*/ 197748 w 1868681"/>
              <a:gd name="connsiteY562" fmla="*/ 540586 h 3681857"/>
              <a:gd name="connsiteX563" fmla="*/ 188404 w 1868681"/>
              <a:gd name="connsiteY563" fmla="*/ 607470 h 3681857"/>
              <a:gd name="connsiteX564" fmla="*/ 124203 w 1868681"/>
              <a:gd name="connsiteY564" fmla="*/ 601087 h 3681857"/>
              <a:gd name="connsiteX565" fmla="*/ 124573 w 1868681"/>
              <a:gd name="connsiteY565" fmla="*/ 618294 h 3681857"/>
              <a:gd name="connsiteX566" fmla="*/ 160559 w 1868681"/>
              <a:gd name="connsiteY566" fmla="*/ 656407 h 3681857"/>
              <a:gd name="connsiteX567" fmla="*/ 160559 w 1868681"/>
              <a:gd name="connsiteY567" fmla="*/ 656407 h 3681857"/>
              <a:gd name="connsiteX568" fmla="*/ 160559 w 1868681"/>
              <a:gd name="connsiteY568" fmla="*/ 656407 h 3681857"/>
              <a:gd name="connsiteX569" fmla="*/ 156859 w 1868681"/>
              <a:gd name="connsiteY569" fmla="*/ 675372 h 3681857"/>
              <a:gd name="connsiteX570" fmla="*/ 166665 w 1868681"/>
              <a:gd name="connsiteY570" fmla="*/ 708490 h 3681857"/>
              <a:gd name="connsiteX571" fmla="*/ 179616 w 1868681"/>
              <a:gd name="connsiteY571" fmla="*/ 719869 h 3681857"/>
              <a:gd name="connsiteX572" fmla="*/ 215972 w 1868681"/>
              <a:gd name="connsiteY572" fmla="*/ 666583 h 3681857"/>
              <a:gd name="connsiteX573" fmla="*/ 273235 w 1868681"/>
              <a:gd name="connsiteY573" fmla="*/ 702477 h 3681857"/>
              <a:gd name="connsiteX574" fmla="*/ 207831 w 1868681"/>
              <a:gd name="connsiteY574" fmla="*/ 748176 h 3681857"/>
              <a:gd name="connsiteX575" fmla="*/ 316807 w 1868681"/>
              <a:gd name="connsiteY575" fmla="*/ 933102 h 3681857"/>
              <a:gd name="connsiteX576" fmla="*/ 297565 w 1868681"/>
              <a:gd name="connsiteY576" fmla="*/ 724772 h 3681857"/>
              <a:gd name="connsiteX577" fmla="*/ 338269 w 1868681"/>
              <a:gd name="connsiteY577" fmla="*/ 778704 h 3681857"/>
              <a:gd name="connsiteX578" fmla="*/ 288314 w 1868681"/>
              <a:gd name="connsiteY578" fmla="*/ 819593 h 3681857"/>
              <a:gd name="connsiteX579" fmla="*/ 353255 w 1868681"/>
              <a:gd name="connsiteY579" fmla="*/ 833007 h 3681857"/>
              <a:gd name="connsiteX580" fmla="*/ 411629 w 1868681"/>
              <a:gd name="connsiteY580" fmla="*/ 864460 h 3681857"/>
              <a:gd name="connsiteX581" fmla="*/ 399695 w 1868681"/>
              <a:gd name="connsiteY581" fmla="*/ 800999 h 3681857"/>
              <a:gd name="connsiteX582" fmla="*/ 465561 w 1868681"/>
              <a:gd name="connsiteY582" fmla="*/ 785827 h 3681857"/>
              <a:gd name="connsiteX583" fmla="*/ 316807 w 1868681"/>
              <a:gd name="connsiteY583" fmla="*/ 933102 h 3681857"/>
              <a:gd name="connsiteX584" fmla="*/ 478605 w 1868681"/>
              <a:gd name="connsiteY584" fmla="*/ 710248 h 3681857"/>
              <a:gd name="connsiteX585" fmla="*/ 400158 w 1868681"/>
              <a:gd name="connsiteY585" fmla="*/ 704142 h 3681857"/>
              <a:gd name="connsiteX586" fmla="*/ 336049 w 1868681"/>
              <a:gd name="connsiteY586" fmla="*/ 658443 h 3681857"/>
              <a:gd name="connsiteX587" fmla="*/ 284891 w 1868681"/>
              <a:gd name="connsiteY587" fmla="*/ 598589 h 3681857"/>
              <a:gd name="connsiteX588" fmla="*/ 271940 w 1868681"/>
              <a:gd name="connsiteY588" fmla="*/ 520974 h 3681857"/>
              <a:gd name="connsiteX589" fmla="*/ 278046 w 1868681"/>
              <a:gd name="connsiteY589" fmla="*/ 442527 h 3681857"/>
              <a:gd name="connsiteX590" fmla="*/ 323745 w 1868681"/>
              <a:gd name="connsiteY590" fmla="*/ 378418 h 3681857"/>
              <a:gd name="connsiteX591" fmla="*/ 383598 w 1868681"/>
              <a:gd name="connsiteY591" fmla="*/ 327260 h 3681857"/>
              <a:gd name="connsiteX592" fmla="*/ 461214 w 1868681"/>
              <a:gd name="connsiteY592" fmla="*/ 314309 h 3681857"/>
              <a:gd name="connsiteX593" fmla="*/ 539661 w 1868681"/>
              <a:gd name="connsiteY593" fmla="*/ 320507 h 3681857"/>
              <a:gd name="connsiteX594" fmla="*/ 603770 w 1868681"/>
              <a:gd name="connsiteY594" fmla="*/ 366207 h 3681857"/>
              <a:gd name="connsiteX595" fmla="*/ 654927 w 1868681"/>
              <a:gd name="connsiteY595" fmla="*/ 426060 h 3681857"/>
              <a:gd name="connsiteX596" fmla="*/ 667879 w 1868681"/>
              <a:gd name="connsiteY596" fmla="*/ 503675 h 3681857"/>
              <a:gd name="connsiteX597" fmla="*/ 661773 w 1868681"/>
              <a:gd name="connsiteY597" fmla="*/ 582123 h 3681857"/>
              <a:gd name="connsiteX598" fmla="*/ 616074 w 1868681"/>
              <a:gd name="connsiteY598" fmla="*/ 646231 h 3681857"/>
              <a:gd name="connsiteX599" fmla="*/ 556220 w 1868681"/>
              <a:gd name="connsiteY599" fmla="*/ 697389 h 3681857"/>
              <a:gd name="connsiteX600" fmla="*/ 478605 w 1868681"/>
              <a:gd name="connsiteY600" fmla="*/ 710248 h 3681857"/>
              <a:gd name="connsiteX601" fmla="*/ 705992 w 1868681"/>
              <a:gd name="connsiteY601" fmla="*/ 774356 h 3681857"/>
              <a:gd name="connsiteX602" fmla="*/ 703865 w 1868681"/>
              <a:gd name="connsiteY602" fmla="*/ 786105 h 3681857"/>
              <a:gd name="connsiteX603" fmla="*/ 659275 w 1868681"/>
              <a:gd name="connsiteY603" fmla="*/ 918115 h 3681857"/>
              <a:gd name="connsiteX604" fmla="*/ 659275 w 1868681"/>
              <a:gd name="connsiteY604" fmla="*/ 918115 h 3681857"/>
              <a:gd name="connsiteX605" fmla="*/ 659275 w 1868681"/>
              <a:gd name="connsiteY605" fmla="*/ 918115 h 3681857"/>
              <a:gd name="connsiteX606" fmla="*/ 652337 w 1868681"/>
              <a:gd name="connsiteY606" fmla="*/ 914878 h 3681857"/>
              <a:gd name="connsiteX607" fmla="*/ 646787 w 1868681"/>
              <a:gd name="connsiteY607" fmla="*/ 912380 h 3681857"/>
              <a:gd name="connsiteX608" fmla="*/ 600902 w 1868681"/>
              <a:gd name="connsiteY608" fmla="*/ 894248 h 3681857"/>
              <a:gd name="connsiteX609" fmla="*/ 567136 w 1868681"/>
              <a:gd name="connsiteY609" fmla="*/ 882592 h 3681857"/>
              <a:gd name="connsiteX610" fmla="*/ 545952 w 1868681"/>
              <a:gd name="connsiteY610" fmla="*/ 874821 h 3681857"/>
              <a:gd name="connsiteX611" fmla="*/ 531243 w 1868681"/>
              <a:gd name="connsiteY611" fmla="*/ 868345 h 3681857"/>
              <a:gd name="connsiteX612" fmla="*/ 526432 w 1868681"/>
              <a:gd name="connsiteY612" fmla="*/ 865848 h 3681857"/>
              <a:gd name="connsiteX613" fmla="*/ 518939 w 1868681"/>
              <a:gd name="connsiteY613" fmla="*/ 861407 h 3681857"/>
              <a:gd name="connsiteX614" fmla="*/ 514406 w 1868681"/>
              <a:gd name="connsiteY614" fmla="*/ 858170 h 3681857"/>
              <a:gd name="connsiteX615" fmla="*/ 503305 w 1868681"/>
              <a:gd name="connsiteY615" fmla="*/ 846976 h 3681857"/>
              <a:gd name="connsiteX616" fmla="*/ 498217 w 1868681"/>
              <a:gd name="connsiteY616" fmla="*/ 784440 h 3681857"/>
              <a:gd name="connsiteX617" fmla="*/ 565101 w 1868681"/>
              <a:gd name="connsiteY617" fmla="*/ 793783 h 3681857"/>
              <a:gd name="connsiteX618" fmla="*/ 558718 w 1868681"/>
              <a:gd name="connsiteY618" fmla="*/ 857984 h 3681857"/>
              <a:gd name="connsiteX619" fmla="*/ 575925 w 1868681"/>
              <a:gd name="connsiteY619" fmla="*/ 857615 h 3681857"/>
              <a:gd name="connsiteX620" fmla="*/ 588136 w 1868681"/>
              <a:gd name="connsiteY620" fmla="*/ 852712 h 3681857"/>
              <a:gd name="connsiteX621" fmla="*/ 598497 w 1868681"/>
              <a:gd name="connsiteY621" fmla="*/ 845311 h 3681857"/>
              <a:gd name="connsiteX622" fmla="*/ 599515 w 1868681"/>
              <a:gd name="connsiteY622" fmla="*/ 844201 h 3681857"/>
              <a:gd name="connsiteX623" fmla="*/ 604695 w 1868681"/>
              <a:gd name="connsiteY623" fmla="*/ 838558 h 3681857"/>
              <a:gd name="connsiteX624" fmla="*/ 614038 w 1868681"/>
              <a:gd name="connsiteY624" fmla="*/ 821629 h 3681857"/>
              <a:gd name="connsiteX625" fmla="*/ 614038 w 1868681"/>
              <a:gd name="connsiteY625" fmla="*/ 821629 h 3681857"/>
              <a:gd name="connsiteX626" fmla="*/ 614038 w 1868681"/>
              <a:gd name="connsiteY626" fmla="*/ 821629 h 3681857"/>
              <a:gd name="connsiteX627" fmla="*/ 666121 w 1868681"/>
              <a:gd name="connsiteY627" fmla="*/ 815523 h 3681857"/>
              <a:gd name="connsiteX628" fmla="*/ 677500 w 1868681"/>
              <a:gd name="connsiteY628" fmla="*/ 802572 h 3681857"/>
              <a:gd name="connsiteX629" fmla="*/ 624214 w 1868681"/>
              <a:gd name="connsiteY629" fmla="*/ 766216 h 3681857"/>
              <a:gd name="connsiteX630" fmla="*/ 660108 w 1868681"/>
              <a:gd name="connsiteY630" fmla="*/ 708953 h 3681857"/>
              <a:gd name="connsiteX631" fmla="*/ 705992 w 1868681"/>
              <a:gd name="connsiteY631" fmla="*/ 774356 h 3681857"/>
              <a:gd name="connsiteX632" fmla="*/ 740591 w 1868681"/>
              <a:gd name="connsiteY632" fmla="*/ 760110 h 3681857"/>
              <a:gd name="connsiteX633" fmla="*/ 898226 w 1868681"/>
              <a:gd name="connsiteY633" fmla="*/ 722551 h 3681857"/>
              <a:gd name="connsiteX634" fmla="*/ 888605 w 1868681"/>
              <a:gd name="connsiteY634" fmla="*/ 884257 h 3681857"/>
              <a:gd name="connsiteX635" fmla="*/ 707657 w 1868681"/>
              <a:gd name="connsiteY635" fmla="*/ 949661 h 3681857"/>
              <a:gd name="connsiteX636" fmla="*/ 740591 w 1868681"/>
              <a:gd name="connsiteY636" fmla="*/ 760110 h 3681857"/>
              <a:gd name="connsiteX637" fmla="*/ 815801 w 1868681"/>
              <a:gd name="connsiteY637" fmla="*/ 1105631 h 3681857"/>
              <a:gd name="connsiteX638" fmla="*/ 806180 w 1868681"/>
              <a:gd name="connsiteY638" fmla="*/ 1090367 h 3681857"/>
              <a:gd name="connsiteX639" fmla="*/ 797854 w 1868681"/>
              <a:gd name="connsiteY639" fmla="*/ 1075751 h 3681857"/>
              <a:gd name="connsiteX640" fmla="*/ 792026 w 1868681"/>
              <a:gd name="connsiteY640" fmla="*/ 1065297 h 3681857"/>
              <a:gd name="connsiteX641" fmla="*/ 785643 w 1868681"/>
              <a:gd name="connsiteY641" fmla="*/ 1053734 h 3681857"/>
              <a:gd name="connsiteX642" fmla="*/ 771396 w 1868681"/>
              <a:gd name="connsiteY642" fmla="*/ 1029034 h 3681857"/>
              <a:gd name="connsiteX643" fmla="*/ 768898 w 1868681"/>
              <a:gd name="connsiteY643" fmla="*/ 1024963 h 3681857"/>
              <a:gd name="connsiteX644" fmla="*/ 755485 w 1868681"/>
              <a:gd name="connsiteY644" fmla="*/ 1003871 h 3681857"/>
              <a:gd name="connsiteX645" fmla="*/ 751599 w 1868681"/>
              <a:gd name="connsiteY645" fmla="*/ 998136 h 3681857"/>
              <a:gd name="connsiteX646" fmla="*/ 747159 w 1868681"/>
              <a:gd name="connsiteY646" fmla="*/ 991845 h 3681857"/>
              <a:gd name="connsiteX647" fmla="*/ 747159 w 1868681"/>
              <a:gd name="connsiteY647" fmla="*/ 991845 h 3681857"/>
              <a:gd name="connsiteX648" fmla="*/ 747159 w 1868681"/>
              <a:gd name="connsiteY648" fmla="*/ 991845 h 3681857"/>
              <a:gd name="connsiteX649" fmla="*/ 875099 w 1868681"/>
              <a:gd name="connsiteY649" fmla="*/ 922741 h 3681857"/>
              <a:gd name="connsiteX650" fmla="*/ 886107 w 1868681"/>
              <a:gd name="connsiteY650" fmla="*/ 919503 h 3681857"/>
              <a:gd name="connsiteX651" fmla="*/ 896653 w 1868681"/>
              <a:gd name="connsiteY651" fmla="*/ 918115 h 3681857"/>
              <a:gd name="connsiteX652" fmla="*/ 901834 w 1868681"/>
              <a:gd name="connsiteY652" fmla="*/ 918208 h 3681857"/>
              <a:gd name="connsiteX653" fmla="*/ 952991 w 1868681"/>
              <a:gd name="connsiteY653" fmla="*/ 954564 h 3681857"/>
              <a:gd name="connsiteX654" fmla="*/ 902852 w 1868681"/>
              <a:gd name="connsiteY654" fmla="*/ 999801 h 3681857"/>
              <a:gd name="connsiteX655" fmla="*/ 857800 w 1868681"/>
              <a:gd name="connsiteY655" fmla="*/ 953639 h 3681857"/>
              <a:gd name="connsiteX656" fmla="*/ 851694 w 1868681"/>
              <a:gd name="connsiteY656" fmla="*/ 959929 h 3681857"/>
              <a:gd name="connsiteX657" fmla="*/ 845773 w 1868681"/>
              <a:gd name="connsiteY657" fmla="*/ 970290 h 3681857"/>
              <a:gd name="connsiteX658" fmla="*/ 850121 w 1868681"/>
              <a:gd name="connsiteY658" fmla="*/ 1019505 h 3681857"/>
              <a:gd name="connsiteX659" fmla="*/ 850121 w 1868681"/>
              <a:gd name="connsiteY659" fmla="*/ 1019505 h 3681857"/>
              <a:gd name="connsiteX660" fmla="*/ 850121 w 1868681"/>
              <a:gd name="connsiteY660" fmla="*/ 1019505 h 3681857"/>
              <a:gd name="connsiteX661" fmla="*/ 829492 w 1868681"/>
              <a:gd name="connsiteY661" fmla="*/ 1038932 h 3681857"/>
              <a:gd name="connsiteX662" fmla="*/ 826069 w 1868681"/>
              <a:gd name="connsiteY662" fmla="*/ 1045315 h 3681857"/>
              <a:gd name="connsiteX663" fmla="*/ 825329 w 1868681"/>
              <a:gd name="connsiteY663" fmla="*/ 1046703 h 3681857"/>
              <a:gd name="connsiteX664" fmla="*/ 821351 w 1868681"/>
              <a:gd name="connsiteY664" fmla="*/ 1063354 h 3681857"/>
              <a:gd name="connsiteX665" fmla="*/ 823941 w 1868681"/>
              <a:gd name="connsiteY665" fmla="*/ 1080376 h 3681857"/>
              <a:gd name="connsiteX666" fmla="*/ 886107 w 1868681"/>
              <a:gd name="connsiteY666" fmla="*/ 1062892 h 3681857"/>
              <a:gd name="connsiteX667" fmla="*/ 906922 w 1868681"/>
              <a:gd name="connsiteY667" fmla="*/ 1127186 h 3681857"/>
              <a:gd name="connsiteX668" fmla="*/ 854192 w 1868681"/>
              <a:gd name="connsiteY668" fmla="*/ 1136529 h 3681857"/>
              <a:gd name="connsiteX669" fmla="*/ 844478 w 1868681"/>
              <a:gd name="connsiteY669" fmla="*/ 1133014 h 3681857"/>
              <a:gd name="connsiteX670" fmla="*/ 835597 w 1868681"/>
              <a:gd name="connsiteY670" fmla="*/ 1127463 h 3681857"/>
              <a:gd name="connsiteX671" fmla="*/ 827457 w 1868681"/>
              <a:gd name="connsiteY671" fmla="*/ 1120063 h 3681857"/>
              <a:gd name="connsiteX672" fmla="*/ 819778 w 1868681"/>
              <a:gd name="connsiteY672" fmla="*/ 1110904 h 3681857"/>
              <a:gd name="connsiteX673" fmla="*/ 815801 w 1868681"/>
              <a:gd name="connsiteY673" fmla="*/ 1105631 h 3681857"/>
              <a:gd name="connsiteX674" fmla="*/ 791841 w 1868681"/>
              <a:gd name="connsiteY674" fmla="*/ 1331723 h 3681857"/>
              <a:gd name="connsiteX675" fmla="*/ 910992 w 1868681"/>
              <a:gd name="connsiteY675" fmla="*/ 1159749 h 3681857"/>
              <a:gd name="connsiteX676" fmla="*/ 907569 w 1868681"/>
              <a:gd name="connsiteY676" fmla="*/ 1227188 h 3681857"/>
              <a:gd name="connsiteX677" fmla="*/ 842998 w 1868681"/>
              <a:gd name="connsiteY677" fmla="*/ 1226448 h 3681857"/>
              <a:gd name="connsiteX678" fmla="*/ 884072 w 1868681"/>
              <a:gd name="connsiteY678" fmla="*/ 1278438 h 3681857"/>
              <a:gd name="connsiteX679" fmla="*/ 908587 w 1868681"/>
              <a:gd name="connsiteY679" fmla="*/ 1340049 h 3681857"/>
              <a:gd name="connsiteX680" fmla="*/ 940225 w 1868681"/>
              <a:gd name="connsiteY680" fmla="*/ 1283803 h 3681857"/>
              <a:gd name="connsiteX681" fmla="*/ 1000356 w 1868681"/>
              <a:gd name="connsiteY681" fmla="*/ 1314516 h 3681857"/>
              <a:gd name="connsiteX682" fmla="*/ 791841 w 1868681"/>
              <a:gd name="connsiteY682" fmla="*/ 1331723 h 3681857"/>
              <a:gd name="connsiteX683" fmla="*/ 990458 w 1868681"/>
              <a:gd name="connsiteY683" fmla="*/ 1396109 h 3681857"/>
              <a:gd name="connsiteX684" fmla="*/ 1026444 w 1868681"/>
              <a:gd name="connsiteY684" fmla="*/ 1334498 h 3681857"/>
              <a:gd name="connsiteX685" fmla="*/ 1071681 w 1868681"/>
              <a:gd name="connsiteY685" fmla="*/ 1384638 h 3681857"/>
              <a:gd name="connsiteX686" fmla="*/ 1025518 w 1868681"/>
              <a:gd name="connsiteY686" fmla="*/ 1429690 h 3681857"/>
              <a:gd name="connsiteX687" fmla="*/ 1039025 w 1868681"/>
              <a:gd name="connsiteY687" fmla="*/ 1440514 h 3681857"/>
              <a:gd name="connsiteX688" fmla="*/ 1064280 w 1868681"/>
              <a:gd name="connsiteY688" fmla="*/ 1445694 h 3681857"/>
              <a:gd name="connsiteX689" fmla="*/ 1067425 w 1868681"/>
              <a:gd name="connsiteY689" fmla="*/ 1445232 h 3681857"/>
              <a:gd name="connsiteX690" fmla="*/ 1073346 w 1868681"/>
              <a:gd name="connsiteY690" fmla="*/ 1444399 h 3681857"/>
              <a:gd name="connsiteX691" fmla="*/ 1091385 w 1868681"/>
              <a:gd name="connsiteY691" fmla="*/ 1437461 h 3681857"/>
              <a:gd name="connsiteX692" fmla="*/ 1091385 w 1868681"/>
              <a:gd name="connsiteY692" fmla="*/ 1437461 h 3681857"/>
              <a:gd name="connsiteX693" fmla="*/ 1091385 w 1868681"/>
              <a:gd name="connsiteY693" fmla="*/ 1437461 h 3681857"/>
              <a:gd name="connsiteX694" fmla="*/ 1135234 w 1868681"/>
              <a:gd name="connsiteY694" fmla="*/ 1466324 h 3681857"/>
              <a:gd name="connsiteX695" fmla="*/ 1152256 w 1868681"/>
              <a:gd name="connsiteY695" fmla="*/ 1463733 h 3681857"/>
              <a:gd name="connsiteX696" fmla="*/ 1134772 w 1868681"/>
              <a:gd name="connsiteY696" fmla="*/ 1401567 h 3681857"/>
              <a:gd name="connsiteX697" fmla="*/ 1199065 w 1868681"/>
              <a:gd name="connsiteY697" fmla="*/ 1380753 h 3681857"/>
              <a:gd name="connsiteX698" fmla="*/ 1199435 w 1868681"/>
              <a:gd name="connsiteY698" fmla="*/ 1452077 h 3681857"/>
              <a:gd name="connsiteX699" fmla="*/ 1063817 w 1868681"/>
              <a:gd name="connsiteY699" fmla="*/ 1540331 h 3681857"/>
              <a:gd name="connsiteX700" fmla="*/ 1005444 w 1868681"/>
              <a:gd name="connsiteY700" fmla="*/ 1435426 h 3681857"/>
              <a:gd name="connsiteX701" fmla="*/ 1001004 w 1868681"/>
              <a:gd name="connsiteY701" fmla="*/ 1426915 h 3681857"/>
              <a:gd name="connsiteX702" fmla="*/ 990458 w 1868681"/>
              <a:gd name="connsiteY702" fmla="*/ 1396109 h 3681857"/>
              <a:gd name="connsiteX703" fmla="*/ 899521 w 1868681"/>
              <a:gd name="connsiteY703" fmla="*/ 1942375 h 3681857"/>
              <a:gd name="connsiteX704" fmla="*/ 1101376 w 1868681"/>
              <a:gd name="connsiteY704" fmla="*/ 1887240 h 3681857"/>
              <a:gd name="connsiteX705" fmla="*/ 1055399 w 1868681"/>
              <a:gd name="connsiteY705" fmla="*/ 1936732 h 3681857"/>
              <a:gd name="connsiteX706" fmla="*/ 1006462 w 1868681"/>
              <a:gd name="connsiteY706" fmla="*/ 1894640 h 3681857"/>
              <a:gd name="connsiteX707" fmla="*/ 1004519 w 1868681"/>
              <a:gd name="connsiteY707" fmla="*/ 1960877 h 3681857"/>
              <a:gd name="connsiteX708" fmla="*/ 983704 w 1868681"/>
              <a:gd name="connsiteY708" fmla="*/ 2023783 h 3681857"/>
              <a:gd name="connsiteX709" fmla="*/ 1044113 w 1868681"/>
              <a:gd name="connsiteY709" fmla="*/ 2001026 h 3681857"/>
              <a:gd name="connsiteX710" fmla="*/ 1070478 w 1868681"/>
              <a:gd name="connsiteY710" fmla="*/ 2063284 h 3681857"/>
              <a:gd name="connsiteX711" fmla="*/ 899521 w 1868681"/>
              <a:gd name="connsiteY711" fmla="*/ 1942375 h 3681857"/>
              <a:gd name="connsiteX712" fmla="*/ 973713 w 1868681"/>
              <a:gd name="connsiteY712" fmla="*/ 2277072 h 3681857"/>
              <a:gd name="connsiteX713" fmla="*/ 997766 w 1868681"/>
              <a:gd name="connsiteY713" fmla="*/ 2153110 h 3681857"/>
              <a:gd name="connsiteX714" fmla="*/ 1003039 w 1868681"/>
              <a:gd name="connsiteY714" fmla="*/ 2134609 h 3681857"/>
              <a:gd name="connsiteX715" fmla="*/ 1010347 w 1868681"/>
              <a:gd name="connsiteY715" fmla="*/ 2119437 h 3681857"/>
              <a:gd name="connsiteX716" fmla="*/ 1016730 w 1868681"/>
              <a:gd name="connsiteY716" fmla="*/ 2111204 h 3681857"/>
              <a:gd name="connsiteX717" fmla="*/ 1020523 w 1868681"/>
              <a:gd name="connsiteY717" fmla="*/ 2107689 h 3681857"/>
              <a:gd name="connsiteX718" fmla="*/ 1029404 w 1868681"/>
              <a:gd name="connsiteY718" fmla="*/ 2101860 h 3681857"/>
              <a:gd name="connsiteX719" fmla="*/ 1046426 w 1868681"/>
              <a:gd name="connsiteY719" fmla="*/ 2096402 h 3681857"/>
              <a:gd name="connsiteX720" fmla="*/ 1060672 w 1868681"/>
              <a:gd name="connsiteY720" fmla="*/ 2094922 h 3681857"/>
              <a:gd name="connsiteX721" fmla="*/ 1077509 w 1868681"/>
              <a:gd name="connsiteY721" fmla="*/ 2095292 h 3681857"/>
              <a:gd name="connsiteX722" fmla="*/ 1079914 w 1868681"/>
              <a:gd name="connsiteY722" fmla="*/ 2162824 h 3681857"/>
              <a:gd name="connsiteX723" fmla="*/ 1015528 w 1868681"/>
              <a:gd name="connsiteY723" fmla="*/ 2167727 h 3681857"/>
              <a:gd name="connsiteX724" fmla="*/ 1018950 w 1868681"/>
              <a:gd name="connsiteY724" fmla="*/ 2184656 h 3681857"/>
              <a:gd name="connsiteX725" fmla="*/ 1042725 w 1868681"/>
              <a:gd name="connsiteY725" fmla="*/ 2209726 h 3681857"/>
              <a:gd name="connsiteX726" fmla="*/ 1061042 w 1868681"/>
              <a:gd name="connsiteY726" fmla="*/ 2216016 h 3681857"/>
              <a:gd name="connsiteX727" fmla="*/ 1061042 w 1868681"/>
              <a:gd name="connsiteY727" fmla="*/ 2216016 h 3681857"/>
              <a:gd name="connsiteX728" fmla="*/ 1061042 w 1868681"/>
              <a:gd name="connsiteY728" fmla="*/ 2216016 h 3681857"/>
              <a:gd name="connsiteX729" fmla="*/ 1076028 w 1868681"/>
              <a:gd name="connsiteY729" fmla="*/ 2266249 h 3681857"/>
              <a:gd name="connsiteX730" fmla="*/ 1090737 w 1868681"/>
              <a:gd name="connsiteY730" fmla="*/ 2275222 h 3681857"/>
              <a:gd name="connsiteX731" fmla="*/ 1117287 w 1868681"/>
              <a:gd name="connsiteY731" fmla="*/ 2216387 h 3681857"/>
              <a:gd name="connsiteX732" fmla="*/ 1179916 w 1868681"/>
              <a:gd name="connsiteY732" fmla="*/ 2241734 h 3681857"/>
              <a:gd name="connsiteX733" fmla="*/ 1144208 w 1868681"/>
              <a:gd name="connsiteY733" fmla="*/ 2293354 h 3681857"/>
              <a:gd name="connsiteX734" fmla="*/ 973713 w 1868681"/>
              <a:gd name="connsiteY734" fmla="*/ 2277072 h 3681857"/>
              <a:gd name="connsiteX735" fmla="*/ 973713 w 1868681"/>
              <a:gd name="connsiteY735" fmla="*/ 2277072 h 3681857"/>
              <a:gd name="connsiteX736" fmla="*/ 973713 w 1868681"/>
              <a:gd name="connsiteY736" fmla="*/ 2277072 h 3681857"/>
              <a:gd name="connsiteX737" fmla="*/ 1143375 w 1868681"/>
              <a:gd name="connsiteY737" fmla="*/ 2329710 h 3681857"/>
              <a:gd name="connsiteX738" fmla="*/ 1207761 w 1868681"/>
              <a:gd name="connsiteY738" fmla="*/ 2478372 h 3681857"/>
              <a:gd name="connsiteX739" fmla="*/ 1046796 w 1868681"/>
              <a:gd name="connsiteY739" fmla="*/ 2496967 h 3681857"/>
              <a:gd name="connsiteX740" fmla="*/ 950956 w 1868681"/>
              <a:gd name="connsiteY740" fmla="*/ 2330080 h 3681857"/>
              <a:gd name="connsiteX741" fmla="*/ 1143375 w 1868681"/>
              <a:gd name="connsiteY741" fmla="*/ 2329710 h 3681857"/>
              <a:gd name="connsiteX742" fmla="*/ 916358 w 1868681"/>
              <a:gd name="connsiteY742" fmla="*/ 2376335 h 3681857"/>
              <a:gd name="connsiteX743" fmla="*/ 988885 w 1868681"/>
              <a:gd name="connsiteY743" fmla="*/ 2572639 h 3681857"/>
              <a:gd name="connsiteX744" fmla="*/ 935600 w 1868681"/>
              <a:gd name="connsiteY744" fmla="*/ 2531102 h 3681857"/>
              <a:gd name="connsiteX745" fmla="*/ 973251 w 1868681"/>
              <a:gd name="connsiteY745" fmla="*/ 2478650 h 3681857"/>
              <a:gd name="connsiteX746" fmla="*/ 966035 w 1868681"/>
              <a:gd name="connsiteY746" fmla="*/ 2473747 h 3681857"/>
              <a:gd name="connsiteX747" fmla="*/ 949846 w 1868681"/>
              <a:gd name="connsiteY747" fmla="*/ 2468659 h 3681857"/>
              <a:gd name="connsiteX748" fmla="*/ 907199 w 1868681"/>
              <a:gd name="connsiteY748" fmla="*/ 2482535 h 3681857"/>
              <a:gd name="connsiteX749" fmla="*/ 907199 w 1868681"/>
              <a:gd name="connsiteY749" fmla="*/ 2482535 h 3681857"/>
              <a:gd name="connsiteX750" fmla="*/ 907199 w 1868681"/>
              <a:gd name="connsiteY750" fmla="*/ 2482535 h 3681857"/>
              <a:gd name="connsiteX751" fmla="*/ 892583 w 1868681"/>
              <a:gd name="connsiteY751" fmla="*/ 2469861 h 3681857"/>
              <a:gd name="connsiteX752" fmla="*/ 868808 w 1868681"/>
              <a:gd name="connsiteY752" fmla="*/ 2461721 h 3681857"/>
              <a:gd name="connsiteX753" fmla="*/ 867513 w 1868681"/>
              <a:gd name="connsiteY753" fmla="*/ 2461535 h 3681857"/>
              <a:gd name="connsiteX754" fmla="*/ 850676 w 1868681"/>
              <a:gd name="connsiteY754" fmla="*/ 2463756 h 3681857"/>
              <a:gd name="connsiteX755" fmla="*/ 842721 w 1868681"/>
              <a:gd name="connsiteY755" fmla="*/ 2467364 h 3681857"/>
              <a:gd name="connsiteX756" fmla="*/ 870658 w 1868681"/>
              <a:gd name="connsiteY756" fmla="*/ 2525552 h 3681857"/>
              <a:gd name="connsiteX757" fmla="*/ 810990 w 1868681"/>
              <a:gd name="connsiteY757" fmla="*/ 2557190 h 3681857"/>
              <a:gd name="connsiteX758" fmla="*/ 916358 w 1868681"/>
              <a:gd name="connsiteY758" fmla="*/ 2376335 h 3681857"/>
              <a:gd name="connsiteX759" fmla="*/ 589431 w 1868681"/>
              <a:gd name="connsiteY759" fmla="*/ 2479482 h 3681857"/>
              <a:gd name="connsiteX760" fmla="*/ 779445 w 1868681"/>
              <a:gd name="connsiteY760" fmla="*/ 2566996 h 3681857"/>
              <a:gd name="connsiteX761" fmla="*/ 712375 w 1868681"/>
              <a:gd name="connsiteY761" fmla="*/ 2575322 h 3681857"/>
              <a:gd name="connsiteX762" fmla="*/ 701922 w 1868681"/>
              <a:gd name="connsiteY762" fmla="*/ 2511675 h 3681857"/>
              <a:gd name="connsiteX763" fmla="*/ 657795 w 1868681"/>
              <a:gd name="connsiteY763" fmla="*/ 2561168 h 3681857"/>
              <a:gd name="connsiteX764" fmla="*/ 601365 w 1868681"/>
              <a:gd name="connsiteY764" fmla="*/ 2595951 h 3681857"/>
              <a:gd name="connsiteX765" fmla="*/ 662236 w 1868681"/>
              <a:gd name="connsiteY765" fmla="*/ 2617321 h 3681857"/>
              <a:gd name="connsiteX766" fmla="*/ 642439 w 1868681"/>
              <a:gd name="connsiteY766" fmla="*/ 2681892 h 3681857"/>
              <a:gd name="connsiteX767" fmla="*/ 589431 w 1868681"/>
              <a:gd name="connsiteY767" fmla="*/ 2479482 h 3681857"/>
              <a:gd name="connsiteX768" fmla="*/ 431148 w 1868681"/>
              <a:gd name="connsiteY768" fmla="*/ 2783559 h 3681857"/>
              <a:gd name="connsiteX769" fmla="*/ 448817 w 1868681"/>
              <a:gd name="connsiteY769" fmla="*/ 2770886 h 3681857"/>
              <a:gd name="connsiteX770" fmla="*/ 484433 w 1868681"/>
              <a:gd name="connsiteY770" fmla="*/ 2742023 h 3681857"/>
              <a:gd name="connsiteX771" fmla="*/ 495164 w 1868681"/>
              <a:gd name="connsiteY771" fmla="*/ 2732772 h 3681857"/>
              <a:gd name="connsiteX772" fmla="*/ 502473 w 1868681"/>
              <a:gd name="connsiteY772" fmla="*/ 2726389 h 3681857"/>
              <a:gd name="connsiteX773" fmla="*/ 519402 w 1868681"/>
              <a:gd name="connsiteY773" fmla="*/ 2711957 h 3681857"/>
              <a:gd name="connsiteX774" fmla="*/ 527820 w 1868681"/>
              <a:gd name="connsiteY774" fmla="*/ 2705297 h 3681857"/>
              <a:gd name="connsiteX775" fmla="*/ 534758 w 1868681"/>
              <a:gd name="connsiteY775" fmla="*/ 2700116 h 3681857"/>
              <a:gd name="connsiteX776" fmla="*/ 540031 w 1868681"/>
              <a:gd name="connsiteY776" fmla="*/ 2696508 h 3681857"/>
              <a:gd name="connsiteX777" fmla="*/ 550392 w 1868681"/>
              <a:gd name="connsiteY777" fmla="*/ 2690495 h 3681857"/>
              <a:gd name="connsiteX778" fmla="*/ 560568 w 1868681"/>
              <a:gd name="connsiteY778" fmla="*/ 2686332 h 3681857"/>
              <a:gd name="connsiteX779" fmla="*/ 575925 w 1868681"/>
              <a:gd name="connsiteY779" fmla="*/ 2683927 h 3681857"/>
              <a:gd name="connsiteX780" fmla="*/ 627545 w 1868681"/>
              <a:gd name="connsiteY780" fmla="*/ 2711125 h 3681857"/>
              <a:gd name="connsiteX781" fmla="*/ 586008 w 1868681"/>
              <a:gd name="connsiteY781" fmla="*/ 2764410 h 3681857"/>
              <a:gd name="connsiteX782" fmla="*/ 533556 w 1868681"/>
              <a:gd name="connsiteY782" fmla="*/ 2726759 h 3681857"/>
              <a:gd name="connsiteX783" fmla="*/ 525230 w 1868681"/>
              <a:gd name="connsiteY783" fmla="*/ 2741930 h 3681857"/>
              <a:gd name="connsiteX784" fmla="*/ 524860 w 1868681"/>
              <a:gd name="connsiteY784" fmla="*/ 2768758 h 3681857"/>
              <a:gd name="connsiteX785" fmla="*/ 537348 w 1868681"/>
              <a:gd name="connsiteY785" fmla="*/ 2792995 h 3681857"/>
              <a:gd name="connsiteX786" fmla="*/ 537348 w 1868681"/>
              <a:gd name="connsiteY786" fmla="*/ 2792995 h 3681857"/>
              <a:gd name="connsiteX787" fmla="*/ 537348 w 1868681"/>
              <a:gd name="connsiteY787" fmla="*/ 2792995 h 3681857"/>
              <a:gd name="connsiteX788" fmla="*/ 516256 w 1868681"/>
              <a:gd name="connsiteY788" fmla="*/ 2832589 h 3681857"/>
              <a:gd name="connsiteX789" fmla="*/ 516534 w 1868681"/>
              <a:gd name="connsiteY789" fmla="*/ 2841100 h 3681857"/>
              <a:gd name="connsiteX790" fmla="*/ 522084 w 1868681"/>
              <a:gd name="connsiteY790" fmla="*/ 2857474 h 3681857"/>
              <a:gd name="connsiteX791" fmla="*/ 580273 w 1868681"/>
              <a:gd name="connsiteY791" fmla="*/ 2829536 h 3681857"/>
              <a:gd name="connsiteX792" fmla="*/ 611911 w 1868681"/>
              <a:gd name="connsiteY792" fmla="*/ 2889205 h 3681857"/>
              <a:gd name="connsiteX793" fmla="*/ 536978 w 1868681"/>
              <a:gd name="connsiteY793" fmla="*/ 2899195 h 3681857"/>
              <a:gd name="connsiteX794" fmla="*/ 431148 w 1868681"/>
              <a:gd name="connsiteY794" fmla="*/ 2783559 h 3681857"/>
              <a:gd name="connsiteX795" fmla="*/ 431148 w 1868681"/>
              <a:gd name="connsiteY795" fmla="*/ 2783559 h 3681857"/>
              <a:gd name="connsiteX796" fmla="*/ 431148 w 1868681"/>
              <a:gd name="connsiteY796" fmla="*/ 2783559 h 3681857"/>
              <a:gd name="connsiteX797" fmla="*/ 379621 w 1868681"/>
              <a:gd name="connsiteY797" fmla="*/ 2809554 h 3681857"/>
              <a:gd name="connsiteX798" fmla="*/ 527357 w 1868681"/>
              <a:gd name="connsiteY798" fmla="*/ 2932869 h 3681857"/>
              <a:gd name="connsiteX799" fmla="*/ 481103 w 1868681"/>
              <a:gd name="connsiteY799" fmla="*/ 3088192 h 3681857"/>
              <a:gd name="connsiteX800" fmla="*/ 345855 w 1868681"/>
              <a:gd name="connsiteY800" fmla="*/ 2999013 h 3681857"/>
              <a:gd name="connsiteX801" fmla="*/ 379621 w 1868681"/>
              <a:gd name="connsiteY801" fmla="*/ 2809554 h 3681857"/>
              <a:gd name="connsiteX802" fmla="*/ 208479 w 1868681"/>
              <a:gd name="connsiteY802" fmla="*/ 2844893 h 3681857"/>
              <a:gd name="connsiteX803" fmla="*/ 192475 w 1868681"/>
              <a:gd name="connsiteY803" fmla="*/ 2907429 h 3681857"/>
              <a:gd name="connsiteX804" fmla="*/ 126423 w 1868681"/>
              <a:gd name="connsiteY804" fmla="*/ 2893275 h 3681857"/>
              <a:gd name="connsiteX805" fmla="*/ 135304 w 1868681"/>
              <a:gd name="connsiteY805" fmla="*/ 2857011 h 3681857"/>
              <a:gd name="connsiteX806" fmla="*/ 144648 w 1868681"/>
              <a:gd name="connsiteY806" fmla="*/ 2842950 h 3681857"/>
              <a:gd name="connsiteX807" fmla="*/ 166850 w 1868681"/>
              <a:gd name="connsiteY807" fmla="*/ 2829536 h 3681857"/>
              <a:gd name="connsiteX808" fmla="*/ 211439 w 1868681"/>
              <a:gd name="connsiteY808" fmla="*/ 2824541 h 3681857"/>
              <a:gd name="connsiteX809" fmla="*/ 271385 w 1868681"/>
              <a:gd name="connsiteY809" fmla="*/ 2825188 h 3681857"/>
              <a:gd name="connsiteX810" fmla="*/ 323283 w 1868681"/>
              <a:gd name="connsiteY810" fmla="*/ 2822691 h 3681857"/>
              <a:gd name="connsiteX811" fmla="*/ 323283 w 1868681"/>
              <a:gd name="connsiteY811" fmla="*/ 2822691 h 3681857"/>
              <a:gd name="connsiteX812" fmla="*/ 323283 w 1868681"/>
              <a:gd name="connsiteY812" fmla="*/ 2822691 h 3681857"/>
              <a:gd name="connsiteX813" fmla="*/ 319120 w 1868681"/>
              <a:gd name="connsiteY813" fmla="*/ 2968022 h 3681857"/>
              <a:gd name="connsiteX814" fmla="*/ 312367 w 1868681"/>
              <a:gd name="connsiteY814" fmla="*/ 2989022 h 3681857"/>
              <a:gd name="connsiteX815" fmla="*/ 306631 w 1868681"/>
              <a:gd name="connsiteY815" fmla="*/ 2997533 h 3681857"/>
              <a:gd name="connsiteX816" fmla="*/ 298953 w 1868681"/>
              <a:gd name="connsiteY816" fmla="*/ 3004748 h 3681857"/>
              <a:gd name="connsiteX817" fmla="*/ 252698 w 1868681"/>
              <a:gd name="connsiteY817" fmla="*/ 3019550 h 3681857"/>
              <a:gd name="connsiteX818" fmla="*/ 238544 w 1868681"/>
              <a:gd name="connsiteY818" fmla="*/ 2953498 h 3681857"/>
              <a:gd name="connsiteX819" fmla="*/ 301080 w 1868681"/>
              <a:gd name="connsiteY819" fmla="*/ 2937494 h 3681857"/>
              <a:gd name="connsiteX820" fmla="*/ 298675 w 1868681"/>
              <a:gd name="connsiteY820" fmla="*/ 2929076 h 3681857"/>
              <a:gd name="connsiteX821" fmla="*/ 290627 w 1868681"/>
              <a:gd name="connsiteY821" fmla="*/ 2916217 h 3681857"/>
              <a:gd name="connsiteX822" fmla="*/ 289517 w 1868681"/>
              <a:gd name="connsiteY822" fmla="*/ 2914737 h 3681857"/>
              <a:gd name="connsiteX823" fmla="*/ 247888 w 1868681"/>
              <a:gd name="connsiteY823" fmla="*/ 2897900 h 3681857"/>
              <a:gd name="connsiteX824" fmla="*/ 247888 w 1868681"/>
              <a:gd name="connsiteY824" fmla="*/ 2897900 h 3681857"/>
              <a:gd name="connsiteX825" fmla="*/ 247888 w 1868681"/>
              <a:gd name="connsiteY825" fmla="*/ 2897900 h 3681857"/>
              <a:gd name="connsiteX826" fmla="*/ 242152 w 1868681"/>
              <a:gd name="connsiteY826" fmla="*/ 2872090 h 3681857"/>
              <a:gd name="connsiteX827" fmla="*/ 224390 w 1868681"/>
              <a:gd name="connsiteY827" fmla="*/ 2851091 h 3681857"/>
              <a:gd name="connsiteX828" fmla="*/ 208479 w 1868681"/>
              <a:gd name="connsiteY828" fmla="*/ 2844893 h 3681857"/>
              <a:gd name="connsiteX829" fmla="*/ 135397 w 1868681"/>
              <a:gd name="connsiteY829" fmla="*/ 3421871 h 3681857"/>
              <a:gd name="connsiteX830" fmla="*/ 126516 w 1868681"/>
              <a:gd name="connsiteY830" fmla="*/ 3385515 h 3681857"/>
              <a:gd name="connsiteX831" fmla="*/ 192567 w 1868681"/>
              <a:gd name="connsiteY831" fmla="*/ 3371361 h 3681857"/>
              <a:gd name="connsiteX832" fmla="*/ 208571 w 1868681"/>
              <a:gd name="connsiteY832" fmla="*/ 3433898 h 3681857"/>
              <a:gd name="connsiteX833" fmla="*/ 231329 w 1868681"/>
              <a:gd name="connsiteY833" fmla="*/ 3422334 h 3681857"/>
              <a:gd name="connsiteX834" fmla="*/ 239099 w 1868681"/>
              <a:gd name="connsiteY834" fmla="*/ 3412528 h 3681857"/>
              <a:gd name="connsiteX835" fmla="*/ 248165 w 1868681"/>
              <a:gd name="connsiteY835" fmla="*/ 3380705 h 3681857"/>
              <a:gd name="connsiteX836" fmla="*/ 248165 w 1868681"/>
              <a:gd name="connsiteY836" fmla="*/ 3380705 h 3681857"/>
              <a:gd name="connsiteX837" fmla="*/ 248165 w 1868681"/>
              <a:gd name="connsiteY837" fmla="*/ 3380705 h 3681857"/>
              <a:gd name="connsiteX838" fmla="*/ 284059 w 1868681"/>
              <a:gd name="connsiteY838" fmla="*/ 3368956 h 3681857"/>
              <a:gd name="connsiteX839" fmla="*/ 295067 w 1868681"/>
              <a:gd name="connsiteY839" fmla="*/ 3357208 h 3681857"/>
              <a:gd name="connsiteX840" fmla="*/ 301358 w 1868681"/>
              <a:gd name="connsiteY840" fmla="*/ 3341111 h 3681857"/>
              <a:gd name="connsiteX841" fmla="*/ 238822 w 1868681"/>
              <a:gd name="connsiteY841" fmla="*/ 3325200 h 3681857"/>
              <a:gd name="connsiteX842" fmla="*/ 252976 w 1868681"/>
              <a:gd name="connsiteY842" fmla="*/ 3259148 h 3681857"/>
              <a:gd name="connsiteX843" fmla="*/ 299230 w 1868681"/>
              <a:gd name="connsiteY843" fmla="*/ 3273949 h 3681857"/>
              <a:gd name="connsiteX844" fmla="*/ 306908 w 1868681"/>
              <a:gd name="connsiteY844" fmla="*/ 3281165 h 3681857"/>
              <a:gd name="connsiteX845" fmla="*/ 312644 w 1868681"/>
              <a:gd name="connsiteY845" fmla="*/ 3289676 h 3681857"/>
              <a:gd name="connsiteX846" fmla="*/ 319397 w 1868681"/>
              <a:gd name="connsiteY846" fmla="*/ 3310676 h 3681857"/>
              <a:gd name="connsiteX847" fmla="*/ 323560 w 1868681"/>
              <a:gd name="connsiteY847" fmla="*/ 3456007 h 3681857"/>
              <a:gd name="connsiteX848" fmla="*/ 323560 w 1868681"/>
              <a:gd name="connsiteY848" fmla="*/ 3456007 h 3681857"/>
              <a:gd name="connsiteX849" fmla="*/ 323560 w 1868681"/>
              <a:gd name="connsiteY849" fmla="*/ 3456007 h 3681857"/>
              <a:gd name="connsiteX850" fmla="*/ 271663 w 1868681"/>
              <a:gd name="connsiteY850" fmla="*/ 3453509 h 3681857"/>
              <a:gd name="connsiteX851" fmla="*/ 211717 w 1868681"/>
              <a:gd name="connsiteY851" fmla="*/ 3454157 h 3681857"/>
              <a:gd name="connsiteX852" fmla="*/ 167127 w 1868681"/>
              <a:gd name="connsiteY852" fmla="*/ 3449162 h 3681857"/>
              <a:gd name="connsiteX853" fmla="*/ 144925 w 1868681"/>
              <a:gd name="connsiteY853" fmla="*/ 3435748 h 3681857"/>
              <a:gd name="connsiteX854" fmla="*/ 135397 w 1868681"/>
              <a:gd name="connsiteY854" fmla="*/ 3421871 h 3681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</a:cxnLst>
            <a:rect l="l" t="t" r="r" b="b"/>
            <a:pathLst>
              <a:path w="1868681" h="3681857">
                <a:moveTo>
                  <a:pt x="194140" y="3497821"/>
                </a:moveTo>
                <a:cubicBezTo>
                  <a:pt x="264724" y="3517433"/>
                  <a:pt x="343820" y="3505870"/>
                  <a:pt x="386836" y="3519561"/>
                </a:cubicBezTo>
                <a:cubicBezTo>
                  <a:pt x="374163" y="3479875"/>
                  <a:pt x="383043" y="3409475"/>
                  <a:pt x="369075" y="3343331"/>
                </a:cubicBezTo>
                <a:cubicBezTo>
                  <a:pt x="364449" y="3321314"/>
                  <a:pt x="357233" y="3299667"/>
                  <a:pt x="345762" y="3279870"/>
                </a:cubicBezTo>
                <a:cubicBezTo>
                  <a:pt x="414219" y="3261461"/>
                  <a:pt x="466116" y="3202533"/>
                  <a:pt x="509041" y="3165066"/>
                </a:cubicBezTo>
                <a:cubicBezTo>
                  <a:pt x="565934" y="3166177"/>
                  <a:pt x="643641" y="3177925"/>
                  <a:pt x="707843" y="3148045"/>
                </a:cubicBezTo>
                <a:cubicBezTo>
                  <a:pt x="709878" y="3159331"/>
                  <a:pt x="712931" y="3170247"/>
                  <a:pt x="716816" y="3180793"/>
                </a:cubicBezTo>
                <a:cubicBezTo>
                  <a:pt x="720701" y="3191431"/>
                  <a:pt x="725419" y="3201607"/>
                  <a:pt x="730785" y="3211599"/>
                </a:cubicBezTo>
                <a:cubicBezTo>
                  <a:pt x="762608" y="3271267"/>
                  <a:pt x="814690" y="3319464"/>
                  <a:pt x="830417" y="3358040"/>
                </a:cubicBezTo>
                <a:cubicBezTo>
                  <a:pt x="842536" y="3338891"/>
                  <a:pt x="865755" y="3318631"/>
                  <a:pt x="891195" y="3295689"/>
                </a:cubicBezTo>
                <a:cubicBezTo>
                  <a:pt x="900724" y="3286993"/>
                  <a:pt x="910622" y="3278020"/>
                  <a:pt x="920243" y="3268491"/>
                </a:cubicBezTo>
                <a:cubicBezTo>
                  <a:pt x="930234" y="3258593"/>
                  <a:pt x="940040" y="3248139"/>
                  <a:pt x="949106" y="3237038"/>
                </a:cubicBezTo>
                <a:cubicBezTo>
                  <a:pt x="954287" y="3230748"/>
                  <a:pt x="959375" y="3224272"/>
                  <a:pt x="964000" y="3217519"/>
                </a:cubicBezTo>
                <a:cubicBezTo>
                  <a:pt x="973528" y="3203550"/>
                  <a:pt x="981762" y="3188656"/>
                  <a:pt x="987590" y="3172560"/>
                </a:cubicBezTo>
                <a:cubicBezTo>
                  <a:pt x="1062522" y="3224920"/>
                  <a:pt x="1171590" y="3212893"/>
                  <a:pt x="1222748" y="3234356"/>
                </a:cubicBezTo>
                <a:cubicBezTo>
                  <a:pt x="1210537" y="3180145"/>
                  <a:pt x="1241249" y="3074870"/>
                  <a:pt x="1202766" y="2991982"/>
                </a:cubicBezTo>
                <a:cubicBezTo>
                  <a:pt x="1219602" y="2989022"/>
                  <a:pt x="1235791" y="2983564"/>
                  <a:pt x="1251148" y="2976533"/>
                </a:cubicBezTo>
                <a:cubicBezTo>
                  <a:pt x="1259196" y="2972833"/>
                  <a:pt x="1266967" y="2968670"/>
                  <a:pt x="1274645" y="2964322"/>
                </a:cubicBezTo>
                <a:cubicBezTo>
                  <a:pt x="1283896" y="2959049"/>
                  <a:pt x="1292777" y="2953406"/>
                  <a:pt x="1301473" y="2947393"/>
                </a:cubicBezTo>
                <a:cubicBezTo>
                  <a:pt x="1314239" y="2938604"/>
                  <a:pt x="1326450" y="2929538"/>
                  <a:pt x="1338014" y="2920565"/>
                </a:cubicBezTo>
                <a:cubicBezTo>
                  <a:pt x="1343749" y="2916125"/>
                  <a:pt x="1349300" y="2911777"/>
                  <a:pt x="1354758" y="2907614"/>
                </a:cubicBezTo>
                <a:cubicBezTo>
                  <a:pt x="1360309" y="2903358"/>
                  <a:pt x="1365674" y="2899103"/>
                  <a:pt x="1370947" y="2895218"/>
                </a:cubicBezTo>
                <a:cubicBezTo>
                  <a:pt x="1386026" y="2884024"/>
                  <a:pt x="1399903" y="2874681"/>
                  <a:pt x="1412761" y="2869408"/>
                </a:cubicBezTo>
                <a:cubicBezTo>
                  <a:pt x="1377515" y="2847113"/>
                  <a:pt x="1339124" y="2787537"/>
                  <a:pt x="1285839" y="2745816"/>
                </a:cubicBezTo>
                <a:cubicBezTo>
                  <a:pt x="1268077" y="2731939"/>
                  <a:pt x="1248650" y="2720006"/>
                  <a:pt x="1227188" y="2712142"/>
                </a:cubicBezTo>
                <a:cubicBezTo>
                  <a:pt x="1267800" y="2654047"/>
                  <a:pt x="1269650" y="2575507"/>
                  <a:pt x="1278438" y="2519261"/>
                </a:cubicBezTo>
                <a:cubicBezTo>
                  <a:pt x="1322750" y="2483553"/>
                  <a:pt x="1389819" y="2442571"/>
                  <a:pt x="1419792" y="2378370"/>
                </a:cubicBezTo>
                <a:cubicBezTo>
                  <a:pt x="1428580" y="2385678"/>
                  <a:pt x="1437924" y="2392061"/>
                  <a:pt x="1447730" y="2397704"/>
                </a:cubicBezTo>
                <a:cubicBezTo>
                  <a:pt x="1516371" y="2436928"/>
                  <a:pt x="1605642" y="2437853"/>
                  <a:pt x="1648659" y="2460425"/>
                </a:cubicBezTo>
                <a:cubicBezTo>
                  <a:pt x="1645884" y="2439981"/>
                  <a:pt x="1649677" y="2413061"/>
                  <a:pt x="1653840" y="2382903"/>
                </a:cubicBezTo>
                <a:cubicBezTo>
                  <a:pt x="1654117" y="2380683"/>
                  <a:pt x="1654487" y="2378463"/>
                  <a:pt x="1654765" y="2376242"/>
                </a:cubicBezTo>
                <a:cubicBezTo>
                  <a:pt x="1657262" y="2358388"/>
                  <a:pt x="1659668" y="2339516"/>
                  <a:pt x="1660963" y="2320182"/>
                </a:cubicBezTo>
                <a:cubicBezTo>
                  <a:pt x="1661425" y="2313706"/>
                  <a:pt x="1661703" y="2307138"/>
                  <a:pt x="1661888" y="2300570"/>
                </a:cubicBezTo>
                <a:cubicBezTo>
                  <a:pt x="1661980" y="2294927"/>
                  <a:pt x="1661980" y="2289284"/>
                  <a:pt x="1661795" y="2283641"/>
                </a:cubicBezTo>
                <a:cubicBezTo>
                  <a:pt x="1661610" y="2277998"/>
                  <a:pt x="1661240" y="2272355"/>
                  <a:pt x="1660685" y="2266804"/>
                </a:cubicBezTo>
                <a:cubicBezTo>
                  <a:pt x="1659575" y="2255611"/>
                  <a:pt x="1657725" y="2244417"/>
                  <a:pt x="1654857" y="2233501"/>
                </a:cubicBezTo>
                <a:cubicBezTo>
                  <a:pt x="1653470" y="2228043"/>
                  <a:pt x="1651804" y="2222585"/>
                  <a:pt x="1649862" y="2217219"/>
                </a:cubicBezTo>
                <a:cubicBezTo>
                  <a:pt x="1740891" y="2209171"/>
                  <a:pt x="1816748" y="2129891"/>
                  <a:pt x="1869756" y="2113332"/>
                </a:cubicBezTo>
                <a:cubicBezTo>
                  <a:pt x="1825536" y="2079658"/>
                  <a:pt x="1781410" y="1979286"/>
                  <a:pt x="1698614" y="1940525"/>
                </a:cubicBezTo>
                <a:cubicBezTo>
                  <a:pt x="1713323" y="1923041"/>
                  <a:pt x="1724146" y="1902966"/>
                  <a:pt x="1732565" y="1882059"/>
                </a:cubicBezTo>
                <a:cubicBezTo>
                  <a:pt x="1737560" y="1869570"/>
                  <a:pt x="1741723" y="1856804"/>
                  <a:pt x="1745239" y="1844038"/>
                </a:cubicBezTo>
                <a:cubicBezTo>
                  <a:pt x="1748014" y="1834232"/>
                  <a:pt x="1750419" y="1824519"/>
                  <a:pt x="1752639" y="1814898"/>
                </a:cubicBezTo>
                <a:cubicBezTo>
                  <a:pt x="1762168" y="1773824"/>
                  <a:pt x="1767996" y="1735525"/>
                  <a:pt x="1780577" y="1711565"/>
                </a:cubicBezTo>
                <a:cubicBezTo>
                  <a:pt x="1735895" y="1717578"/>
                  <a:pt x="1660038" y="1692508"/>
                  <a:pt x="1587048" y="1699539"/>
                </a:cubicBezTo>
                <a:cubicBezTo>
                  <a:pt x="1570211" y="1701204"/>
                  <a:pt x="1553560" y="1704534"/>
                  <a:pt x="1537371" y="1710363"/>
                </a:cubicBezTo>
                <a:cubicBezTo>
                  <a:pt x="1531080" y="1639778"/>
                  <a:pt x="1482143" y="1578352"/>
                  <a:pt x="1452725" y="1529692"/>
                </a:cubicBezTo>
                <a:cubicBezTo>
                  <a:pt x="1463734" y="1473817"/>
                  <a:pt x="1488711" y="1399347"/>
                  <a:pt x="1470487" y="1330890"/>
                </a:cubicBezTo>
                <a:cubicBezTo>
                  <a:pt x="1476222" y="1330890"/>
                  <a:pt x="1481865" y="1330613"/>
                  <a:pt x="1487509" y="1330058"/>
                </a:cubicBezTo>
                <a:cubicBezTo>
                  <a:pt x="1498795" y="1328948"/>
                  <a:pt x="1509896" y="1326913"/>
                  <a:pt x="1520812" y="1324045"/>
                </a:cubicBezTo>
                <a:cubicBezTo>
                  <a:pt x="1526270" y="1322657"/>
                  <a:pt x="1531728" y="1321085"/>
                  <a:pt x="1537001" y="1319327"/>
                </a:cubicBezTo>
                <a:cubicBezTo>
                  <a:pt x="1601295" y="1298420"/>
                  <a:pt x="1657818" y="1255496"/>
                  <a:pt x="1698522" y="1246615"/>
                </a:cubicBezTo>
                <a:cubicBezTo>
                  <a:pt x="1685940" y="1235144"/>
                  <a:pt x="1673914" y="1217567"/>
                  <a:pt x="1661055" y="1197215"/>
                </a:cubicBezTo>
                <a:cubicBezTo>
                  <a:pt x="1659575" y="1194810"/>
                  <a:pt x="1658003" y="1192405"/>
                  <a:pt x="1656430" y="1189999"/>
                </a:cubicBezTo>
                <a:cubicBezTo>
                  <a:pt x="1650324" y="1180193"/>
                  <a:pt x="1643941" y="1170017"/>
                  <a:pt x="1637188" y="1159564"/>
                </a:cubicBezTo>
                <a:cubicBezTo>
                  <a:pt x="1636448" y="1158454"/>
                  <a:pt x="1635800" y="1157344"/>
                  <a:pt x="1635060" y="1156234"/>
                </a:cubicBezTo>
                <a:cubicBezTo>
                  <a:pt x="1631082" y="1150220"/>
                  <a:pt x="1626920" y="1144115"/>
                  <a:pt x="1622664" y="1138102"/>
                </a:cubicBezTo>
                <a:cubicBezTo>
                  <a:pt x="1619796" y="1134031"/>
                  <a:pt x="1616836" y="1129961"/>
                  <a:pt x="1613876" y="1125983"/>
                </a:cubicBezTo>
                <a:cubicBezTo>
                  <a:pt x="1607863" y="1118027"/>
                  <a:pt x="1601665" y="1110257"/>
                  <a:pt x="1595004" y="1102856"/>
                </a:cubicBezTo>
                <a:cubicBezTo>
                  <a:pt x="1579925" y="1086112"/>
                  <a:pt x="1562903" y="1071033"/>
                  <a:pt x="1543106" y="1059562"/>
                </a:cubicBezTo>
                <a:cubicBezTo>
                  <a:pt x="1607678" y="994805"/>
                  <a:pt x="1614801" y="885367"/>
                  <a:pt x="1644774" y="838650"/>
                </a:cubicBezTo>
                <a:cubicBezTo>
                  <a:pt x="1589268" y="841333"/>
                  <a:pt x="1490931" y="792766"/>
                  <a:pt x="1402585" y="816263"/>
                </a:cubicBezTo>
                <a:cubicBezTo>
                  <a:pt x="1402585" y="799149"/>
                  <a:pt x="1399995" y="782312"/>
                  <a:pt x="1395739" y="765938"/>
                </a:cubicBezTo>
                <a:cubicBezTo>
                  <a:pt x="1393334" y="756410"/>
                  <a:pt x="1390189" y="747159"/>
                  <a:pt x="1386859" y="738000"/>
                </a:cubicBezTo>
                <a:cubicBezTo>
                  <a:pt x="1385564" y="734485"/>
                  <a:pt x="1384176" y="730970"/>
                  <a:pt x="1382788" y="727454"/>
                </a:cubicBezTo>
                <a:cubicBezTo>
                  <a:pt x="1377330" y="714041"/>
                  <a:pt x="1371225" y="700904"/>
                  <a:pt x="1364842" y="688323"/>
                </a:cubicBezTo>
                <a:cubicBezTo>
                  <a:pt x="1364564" y="687768"/>
                  <a:pt x="1364194" y="687120"/>
                  <a:pt x="1363917" y="686565"/>
                </a:cubicBezTo>
                <a:cubicBezTo>
                  <a:pt x="1344582" y="648452"/>
                  <a:pt x="1324138" y="614963"/>
                  <a:pt x="1318309" y="588228"/>
                </a:cubicBezTo>
                <a:cubicBezTo>
                  <a:pt x="1290279" y="619034"/>
                  <a:pt x="1224875" y="646509"/>
                  <a:pt x="1174550" y="691746"/>
                </a:cubicBezTo>
                <a:cubicBezTo>
                  <a:pt x="1166132" y="699239"/>
                  <a:pt x="1158176" y="707287"/>
                  <a:pt x="1150868" y="715891"/>
                </a:cubicBezTo>
                <a:cubicBezTo>
                  <a:pt x="1143560" y="724494"/>
                  <a:pt x="1136899" y="733745"/>
                  <a:pt x="1131164" y="743643"/>
                </a:cubicBezTo>
                <a:cubicBezTo>
                  <a:pt x="1081024" y="693596"/>
                  <a:pt x="1003964" y="678055"/>
                  <a:pt x="950124" y="659645"/>
                </a:cubicBezTo>
                <a:cubicBezTo>
                  <a:pt x="922648" y="609783"/>
                  <a:pt x="893971" y="536701"/>
                  <a:pt x="835968" y="495904"/>
                </a:cubicBezTo>
                <a:cubicBezTo>
                  <a:pt x="849104" y="484896"/>
                  <a:pt x="860297" y="472129"/>
                  <a:pt x="870196" y="458346"/>
                </a:cubicBezTo>
                <a:cubicBezTo>
                  <a:pt x="912842" y="398677"/>
                  <a:pt x="928939" y="320415"/>
                  <a:pt x="956599" y="284706"/>
                </a:cubicBezTo>
                <a:cubicBezTo>
                  <a:pt x="914970" y="283041"/>
                  <a:pt x="851879" y="250570"/>
                  <a:pt x="784903" y="241135"/>
                </a:cubicBezTo>
                <a:cubicBezTo>
                  <a:pt x="762608" y="237989"/>
                  <a:pt x="739851" y="237342"/>
                  <a:pt x="717371" y="241320"/>
                </a:cubicBezTo>
                <a:cubicBezTo>
                  <a:pt x="725234" y="150198"/>
                  <a:pt x="660293" y="61852"/>
                  <a:pt x="653262" y="6717"/>
                </a:cubicBezTo>
                <a:cubicBezTo>
                  <a:pt x="612466" y="44368"/>
                  <a:pt x="505895" y="70363"/>
                  <a:pt x="453350" y="145203"/>
                </a:cubicBezTo>
                <a:cubicBezTo>
                  <a:pt x="438641" y="127719"/>
                  <a:pt x="420787" y="113565"/>
                  <a:pt x="401730" y="101631"/>
                </a:cubicBezTo>
                <a:cubicBezTo>
                  <a:pt x="392202" y="95710"/>
                  <a:pt x="382303" y="90252"/>
                  <a:pt x="372312" y="85257"/>
                </a:cubicBezTo>
                <a:cubicBezTo>
                  <a:pt x="366669" y="82482"/>
                  <a:pt x="361026" y="79799"/>
                  <a:pt x="355291" y="77209"/>
                </a:cubicBezTo>
                <a:cubicBezTo>
                  <a:pt x="342154" y="71196"/>
                  <a:pt x="329018" y="65830"/>
                  <a:pt x="316437" y="60742"/>
                </a:cubicBezTo>
                <a:cubicBezTo>
                  <a:pt x="311996" y="58892"/>
                  <a:pt x="307556" y="57134"/>
                  <a:pt x="303301" y="55376"/>
                </a:cubicBezTo>
                <a:cubicBezTo>
                  <a:pt x="278693" y="45293"/>
                  <a:pt x="256861" y="35950"/>
                  <a:pt x="242245" y="24664"/>
                </a:cubicBezTo>
                <a:cubicBezTo>
                  <a:pt x="240302" y="73231"/>
                  <a:pt x="196453" y="151031"/>
                  <a:pt x="196083" y="230033"/>
                </a:cubicBezTo>
                <a:cubicBezTo>
                  <a:pt x="195990" y="241320"/>
                  <a:pt x="196823" y="252606"/>
                  <a:pt x="198858" y="263892"/>
                </a:cubicBezTo>
                <a:cubicBezTo>
                  <a:pt x="128829" y="258156"/>
                  <a:pt x="59817" y="295715"/>
                  <a:pt x="6717" y="316252"/>
                </a:cubicBezTo>
                <a:lnTo>
                  <a:pt x="6717" y="398122"/>
                </a:lnTo>
                <a:cubicBezTo>
                  <a:pt x="29844" y="443359"/>
                  <a:pt x="57412" y="495997"/>
                  <a:pt x="103296" y="528190"/>
                </a:cubicBezTo>
                <a:cubicBezTo>
                  <a:pt x="51306" y="571947"/>
                  <a:pt x="28826" y="642994"/>
                  <a:pt x="6717" y="694614"/>
                </a:cubicBezTo>
                <a:lnTo>
                  <a:pt x="6717" y="742811"/>
                </a:lnTo>
                <a:cubicBezTo>
                  <a:pt x="62962" y="755392"/>
                  <a:pt x="143908" y="796373"/>
                  <a:pt x="221985" y="782775"/>
                </a:cubicBezTo>
                <a:cubicBezTo>
                  <a:pt x="214122" y="873896"/>
                  <a:pt x="279063" y="962242"/>
                  <a:pt x="286094" y="1017377"/>
                </a:cubicBezTo>
                <a:cubicBezTo>
                  <a:pt x="326890" y="979726"/>
                  <a:pt x="433461" y="953731"/>
                  <a:pt x="486006" y="878892"/>
                </a:cubicBezTo>
                <a:cubicBezTo>
                  <a:pt x="537071" y="939577"/>
                  <a:pt x="625417" y="960115"/>
                  <a:pt x="676575" y="986665"/>
                </a:cubicBezTo>
                <a:cubicBezTo>
                  <a:pt x="711635" y="1032456"/>
                  <a:pt x="747159" y="1115900"/>
                  <a:pt x="815801" y="1155679"/>
                </a:cubicBezTo>
                <a:cubicBezTo>
                  <a:pt x="751229" y="1220435"/>
                  <a:pt x="744106" y="1329873"/>
                  <a:pt x="714133" y="1376590"/>
                </a:cubicBezTo>
                <a:cubicBezTo>
                  <a:pt x="769639" y="1373907"/>
                  <a:pt x="867976" y="1422567"/>
                  <a:pt x="956322" y="1398977"/>
                </a:cubicBezTo>
                <a:cubicBezTo>
                  <a:pt x="956414" y="1478257"/>
                  <a:pt x="1010902" y="1550784"/>
                  <a:pt x="1033012" y="1604070"/>
                </a:cubicBezTo>
                <a:cubicBezTo>
                  <a:pt x="1030421" y="1661703"/>
                  <a:pt x="1004056" y="1748476"/>
                  <a:pt x="1031069" y="1823038"/>
                </a:cubicBezTo>
                <a:cubicBezTo>
                  <a:pt x="940040" y="1831087"/>
                  <a:pt x="864183" y="1910367"/>
                  <a:pt x="811175" y="1926834"/>
                </a:cubicBezTo>
                <a:cubicBezTo>
                  <a:pt x="855394" y="1960507"/>
                  <a:pt x="899521" y="2060879"/>
                  <a:pt x="982317" y="2099640"/>
                </a:cubicBezTo>
                <a:cubicBezTo>
                  <a:pt x="931437" y="2160511"/>
                  <a:pt x="926534" y="2251077"/>
                  <a:pt x="909235" y="2306028"/>
                </a:cubicBezTo>
                <a:cubicBezTo>
                  <a:pt x="870196" y="2348489"/>
                  <a:pt x="794246" y="2397982"/>
                  <a:pt x="766956" y="2472544"/>
                </a:cubicBezTo>
                <a:cubicBezTo>
                  <a:pt x="692024" y="2420184"/>
                  <a:pt x="582955" y="2432210"/>
                  <a:pt x="531798" y="2410748"/>
                </a:cubicBezTo>
                <a:cubicBezTo>
                  <a:pt x="544009" y="2464958"/>
                  <a:pt x="513296" y="2570234"/>
                  <a:pt x="551780" y="2653121"/>
                </a:cubicBezTo>
                <a:cubicBezTo>
                  <a:pt x="473702" y="2666998"/>
                  <a:pt x="411721" y="2733234"/>
                  <a:pt x="363154" y="2764317"/>
                </a:cubicBezTo>
                <a:cubicBezTo>
                  <a:pt x="305983" y="2771811"/>
                  <a:pt x="215880" y="2760895"/>
                  <a:pt x="147145" y="2800396"/>
                </a:cubicBezTo>
                <a:cubicBezTo>
                  <a:pt x="123371" y="2712050"/>
                  <a:pt x="32157" y="2651179"/>
                  <a:pt x="6717" y="2601872"/>
                </a:cubicBezTo>
                <a:lnTo>
                  <a:pt x="6717" y="2691605"/>
                </a:lnTo>
                <a:cubicBezTo>
                  <a:pt x="82574" y="2783744"/>
                  <a:pt x="157691" y="2805114"/>
                  <a:pt x="96080" y="2880786"/>
                </a:cubicBezTo>
                <a:cubicBezTo>
                  <a:pt x="55932" y="2930093"/>
                  <a:pt x="17540" y="2862100"/>
                  <a:pt x="39372" y="2844060"/>
                </a:cubicBezTo>
                <a:cubicBezTo>
                  <a:pt x="71566" y="2893737"/>
                  <a:pt x="127071" y="2826761"/>
                  <a:pt x="72306" y="2788555"/>
                </a:cubicBezTo>
                <a:cubicBezTo>
                  <a:pt x="52694" y="2774863"/>
                  <a:pt x="26051" y="2779211"/>
                  <a:pt x="6717" y="2798083"/>
                </a:cubicBezTo>
                <a:lnTo>
                  <a:pt x="6717" y="2935274"/>
                </a:lnTo>
                <a:cubicBezTo>
                  <a:pt x="22906" y="2948965"/>
                  <a:pt x="48253" y="2962472"/>
                  <a:pt x="82574" y="2956366"/>
                </a:cubicBezTo>
                <a:cubicBezTo>
                  <a:pt x="102464" y="2984951"/>
                  <a:pt x="130031" y="2993370"/>
                  <a:pt x="151123" y="2995127"/>
                </a:cubicBezTo>
                <a:cubicBezTo>
                  <a:pt x="152881" y="3016219"/>
                  <a:pt x="161299" y="3043694"/>
                  <a:pt x="189885" y="3063676"/>
                </a:cubicBezTo>
                <a:cubicBezTo>
                  <a:pt x="183779" y="3097997"/>
                  <a:pt x="197285" y="3123345"/>
                  <a:pt x="210977" y="3139534"/>
                </a:cubicBezTo>
                <a:cubicBezTo>
                  <a:pt x="197285" y="3155723"/>
                  <a:pt x="183779" y="3181070"/>
                  <a:pt x="189885" y="3215391"/>
                </a:cubicBezTo>
                <a:cubicBezTo>
                  <a:pt x="161299" y="3235281"/>
                  <a:pt x="152881" y="3262848"/>
                  <a:pt x="151123" y="3283940"/>
                </a:cubicBezTo>
                <a:cubicBezTo>
                  <a:pt x="130031" y="3285698"/>
                  <a:pt x="102556" y="3294116"/>
                  <a:pt x="82574" y="3322702"/>
                </a:cubicBezTo>
                <a:cubicBezTo>
                  <a:pt x="48253" y="3316596"/>
                  <a:pt x="22906" y="3330103"/>
                  <a:pt x="6717" y="3343701"/>
                </a:cubicBezTo>
                <a:lnTo>
                  <a:pt x="6717" y="3480892"/>
                </a:lnTo>
                <a:cubicBezTo>
                  <a:pt x="26051" y="3499764"/>
                  <a:pt x="52694" y="3504112"/>
                  <a:pt x="72306" y="3490420"/>
                </a:cubicBezTo>
                <a:cubicBezTo>
                  <a:pt x="127071" y="3452214"/>
                  <a:pt x="71566" y="3385238"/>
                  <a:pt x="39372" y="3434915"/>
                </a:cubicBezTo>
                <a:cubicBezTo>
                  <a:pt x="17540" y="3416876"/>
                  <a:pt x="55932" y="3348882"/>
                  <a:pt x="96080" y="3398189"/>
                </a:cubicBezTo>
                <a:cubicBezTo>
                  <a:pt x="157691" y="3473861"/>
                  <a:pt x="82574" y="3495231"/>
                  <a:pt x="6717" y="3587370"/>
                </a:cubicBezTo>
                <a:lnTo>
                  <a:pt x="6717" y="3677104"/>
                </a:lnTo>
                <a:cubicBezTo>
                  <a:pt x="32157" y="3627704"/>
                  <a:pt x="123371" y="3566833"/>
                  <a:pt x="147145" y="3478579"/>
                </a:cubicBezTo>
                <a:cubicBezTo>
                  <a:pt x="162039" y="3487090"/>
                  <a:pt x="177858" y="3493288"/>
                  <a:pt x="194140" y="3497821"/>
                </a:cubicBezTo>
                <a:close/>
                <a:moveTo>
                  <a:pt x="265464" y="3228805"/>
                </a:moveTo>
                <a:cubicBezTo>
                  <a:pt x="216157" y="3188656"/>
                  <a:pt x="284244" y="3150265"/>
                  <a:pt x="302191" y="3172097"/>
                </a:cubicBezTo>
                <a:cubicBezTo>
                  <a:pt x="252513" y="3204290"/>
                  <a:pt x="319490" y="3259796"/>
                  <a:pt x="357696" y="3205030"/>
                </a:cubicBezTo>
                <a:cubicBezTo>
                  <a:pt x="371387" y="3185418"/>
                  <a:pt x="367039" y="3158776"/>
                  <a:pt x="348075" y="3139441"/>
                </a:cubicBezTo>
                <a:cubicBezTo>
                  <a:pt x="367039" y="3120107"/>
                  <a:pt x="371295" y="3093464"/>
                  <a:pt x="357696" y="3073852"/>
                </a:cubicBezTo>
                <a:cubicBezTo>
                  <a:pt x="319490" y="3019087"/>
                  <a:pt x="252513" y="3074593"/>
                  <a:pt x="302191" y="3106786"/>
                </a:cubicBezTo>
                <a:cubicBezTo>
                  <a:pt x="284151" y="3128618"/>
                  <a:pt x="216157" y="3090226"/>
                  <a:pt x="265464" y="3050078"/>
                </a:cubicBezTo>
                <a:cubicBezTo>
                  <a:pt x="341137" y="2988467"/>
                  <a:pt x="362506" y="3063584"/>
                  <a:pt x="454645" y="3139441"/>
                </a:cubicBezTo>
                <a:cubicBezTo>
                  <a:pt x="362506" y="3215299"/>
                  <a:pt x="341044" y="3290416"/>
                  <a:pt x="265464" y="3228805"/>
                </a:cubicBezTo>
                <a:close/>
                <a:moveTo>
                  <a:pt x="736613" y="3057293"/>
                </a:moveTo>
                <a:cubicBezTo>
                  <a:pt x="718204" y="3153133"/>
                  <a:pt x="653540" y="3109284"/>
                  <a:pt x="534203" y="3110486"/>
                </a:cubicBezTo>
                <a:cubicBezTo>
                  <a:pt x="556035" y="2993185"/>
                  <a:pt x="524120" y="2921860"/>
                  <a:pt x="621717" y="2920380"/>
                </a:cubicBezTo>
                <a:cubicBezTo>
                  <a:pt x="685270" y="2919455"/>
                  <a:pt x="657888" y="2992630"/>
                  <a:pt x="630042" y="2987449"/>
                </a:cubicBezTo>
                <a:cubicBezTo>
                  <a:pt x="647434" y="2930834"/>
                  <a:pt x="560383" y="2931389"/>
                  <a:pt x="566396" y="2997903"/>
                </a:cubicBezTo>
                <a:cubicBezTo>
                  <a:pt x="568524" y="3021678"/>
                  <a:pt x="588968" y="3039347"/>
                  <a:pt x="615889" y="3041937"/>
                </a:cubicBezTo>
                <a:cubicBezTo>
                  <a:pt x="613853" y="3068950"/>
                  <a:pt x="627637" y="3092077"/>
                  <a:pt x="650672" y="3098367"/>
                </a:cubicBezTo>
                <a:cubicBezTo>
                  <a:pt x="715151" y="3115759"/>
                  <a:pt x="730785" y="3030188"/>
                  <a:pt x="672042" y="3037497"/>
                </a:cubicBezTo>
                <a:cubicBezTo>
                  <a:pt x="671764" y="3009189"/>
                  <a:pt x="748547" y="2994850"/>
                  <a:pt x="736613" y="3057293"/>
                </a:cubicBezTo>
                <a:close/>
                <a:moveTo>
                  <a:pt x="961595" y="3143604"/>
                </a:moveTo>
                <a:cubicBezTo>
                  <a:pt x="961040" y="3147027"/>
                  <a:pt x="960022" y="3150265"/>
                  <a:pt x="958727" y="3153503"/>
                </a:cubicBezTo>
                <a:cubicBezTo>
                  <a:pt x="957432" y="3156740"/>
                  <a:pt x="955767" y="3159886"/>
                  <a:pt x="953824" y="3162939"/>
                </a:cubicBezTo>
                <a:cubicBezTo>
                  <a:pt x="951881" y="3166084"/>
                  <a:pt x="949569" y="3169137"/>
                  <a:pt x="946978" y="3172190"/>
                </a:cubicBezTo>
                <a:cubicBezTo>
                  <a:pt x="945683" y="3173762"/>
                  <a:pt x="944296" y="3175242"/>
                  <a:pt x="942908" y="3176722"/>
                </a:cubicBezTo>
                <a:cubicBezTo>
                  <a:pt x="940133" y="3179683"/>
                  <a:pt x="937080" y="3182735"/>
                  <a:pt x="933842" y="3185696"/>
                </a:cubicBezTo>
                <a:cubicBezTo>
                  <a:pt x="926719" y="3192356"/>
                  <a:pt x="918393" y="3199202"/>
                  <a:pt x="909327" y="3206510"/>
                </a:cubicBezTo>
                <a:cubicBezTo>
                  <a:pt x="906089" y="3209101"/>
                  <a:pt x="902759" y="3211783"/>
                  <a:pt x="899336" y="3214559"/>
                </a:cubicBezTo>
                <a:cubicBezTo>
                  <a:pt x="898319" y="3215391"/>
                  <a:pt x="897208" y="3216316"/>
                  <a:pt x="896098" y="3217149"/>
                </a:cubicBezTo>
                <a:cubicBezTo>
                  <a:pt x="892861" y="3219739"/>
                  <a:pt x="889623" y="3222422"/>
                  <a:pt x="886200" y="3225197"/>
                </a:cubicBezTo>
                <a:cubicBezTo>
                  <a:pt x="884442" y="3226677"/>
                  <a:pt x="882685" y="3228157"/>
                  <a:pt x="880927" y="3229638"/>
                </a:cubicBezTo>
                <a:cubicBezTo>
                  <a:pt x="877782" y="3232228"/>
                  <a:pt x="874636" y="3234911"/>
                  <a:pt x="871491" y="3237686"/>
                </a:cubicBezTo>
                <a:cubicBezTo>
                  <a:pt x="870011" y="3238981"/>
                  <a:pt x="868623" y="3240184"/>
                  <a:pt x="867143" y="3241479"/>
                </a:cubicBezTo>
                <a:cubicBezTo>
                  <a:pt x="863350" y="3244809"/>
                  <a:pt x="859557" y="3248232"/>
                  <a:pt x="855764" y="3251747"/>
                </a:cubicBezTo>
                <a:cubicBezTo>
                  <a:pt x="852527" y="3254708"/>
                  <a:pt x="849289" y="3257760"/>
                  <a:pt x="846051" y="3260998"/>
                </a:cubicBezTo>
                <a:cubicBezTo>
                  <a:pt x="843461" y="3263496"/>
                  <a:pt x="840870" y="3266086"/>
                  <a:pt x="838373" y="3268676"/>
                </a:cubicBezTo>
                <a:lnTo>
                  <a:pt x="838373" y="3268676"/>
                </a:lnTo>
                <a:cubicBezTo>
                  <a:pt x="838373" y="3268676"/>
                  <a:pt x="838373" y="3268676"/>
                  <a:pt x="838373" y="3268676"/>
                </a:cubicBezTo>
                <a:cubicBezTo>
                  <a:pt x="808862" y="3225660"/>
                  <a:pt x="778242" y="3196057"/>
                  <a:pt x="758907" y="3170617"/>
                </a:cubicBezTo>
                <a:cubicBezTo>
                  <a:pt x="754745" y="3165159"/>
                  <a:pt x="751137" y="3159886"/>
                  <a:pt x="748084" y="3154705"/>
                </a:cubicBezTo>
                <a:cubicBezTo>
                  <a:pt x="746049" y="3151282"/>
                  <a:pt x="744384" y="3147860"/>
                  <a:pt x="742996" y="3144437"/>
                </a:cubicBezTo>
                <a:cubicBezTo>
                  <a:pt x="740868" y="3139349"/>
                  <a:pt x="739481" y="3134261"/>
                  <a:pt x="738926" y="3129173"/>
                </a:cubicBezTo>
                <a:cubicBezTo>
                  <a:pt x="737075" y="3112059"/>
                  <a:pt x="744569" y="3094297"/>
                  <a:pt x="765846" y="3072465"/>
                </a:cubicBezTo>
                <a:cubicBezTo>
                  <a:pt x="810157" y="3026858"/>
                  <a:pt x="842443" y="3097997"/>
                  <a:pt x="819131" y="3114001"/>
                </a:cubicBezTo>
                <a:cubicBezTo>
                  <a:pt x="791378" y="3061641"/>
                  <a:pt x="730230" y="3123622"/>
                  <a:pt x="781480" y="3166454"/>
                </a:cubicBezTo>
                <a:cubicBezTo>
                  <a:pt x="786105" y="3170247"/>
                  <a:pt x="791193" y="3173022"/>
                  <a:pt x="796651" y="3174780"/>
                </a:cubicBezTo>
                <a:cubicBezTo>
                  <a:pt x="802109" y="3176445"/>
                  <a:pt x="807845" y="3177093"/>
                  <a:pt x="813673" y="3176815"/>
                </a:cubicBezTo>
                <a:cubicBezTo>
                  <a:pt x="825329" y="3176075"/>
                  <a:pt x="837263" y="3171264"/>
                  <a:pt x="847716" y="3162754"/>
                </a:cubicBezTo>
                <a:cubicBezTo>
                  <a:pt x="847716" y="3162754"/>
                  <a:pt x="847716" y="3162754"/>
                  <a:pt x="847716" y="3162754"/>
                </a:cubicBezTo>
                <a:cubicBezTo>
                  <a:pt x="847716" y="3162754"/>
                  <a:pt x="847716" y="3162754"/>
                  <a:pt x="847716" y="3162754"/>
                </a:cubicBezTo>
                <a:cubicBezTo>
                  <a:pt x="856875" y="3173392"/>
                  <a:pt x="868253" y="3180238"/>
                  <a:pt x="880094" y="3182735"/>
                </a:cubicBezTo>
                <a:cubicBezTo>
                  <a:pt x="888235" y="3184493"/>
                  <a:pt x="896468" y="3184216"/>
                  <a:pt x="904239" y="3181625"/>
                </a:cubicBezTo>
                <a:cubicBezTo>
                  <a:pt x="907014" y="3180701"/>
                  <a:pt x="909605" y="3179498"/>
                  <a:pt x="912195" y="3178018"/>
                </a:cubicBezTo>
                <a:cubicBezTo>
                  <a:pt x="970106" y="3144714"/>
                  <a:pt x="920613" y="3073113"/>
                  <a:pt x="884257" y="3119829"/>
                </a:cubicBezTo>
                <a:cubicBezTo>
                  <a:pt x="864090" y="3100033"/>
                  <a:pt x="908217" y="3035554"/>
                  <a:pt x="943926" y="3088192"/>
                </a:cubicBezTo>
                <a:cubicBezTo>
                  <a:pt x="959190" y="3110763"/>
                  <a:pt x="964278" y="3128248"/>
                  <a:pt x="961595" y="3143604"/>
                </a:cubicBezTo>
                <a:close/>
                <a:moveTo>
                  <a:pt x="936987" y="3011594"/>
                </a:moveTo>
                <a:cubicBezTo>
                  <a:pt x="903314" y="3002528"/>
                  <a:pt x="876856" y="3013814"/>
                  <a:pt x="859557" y="3025933"/>
                </a:cubicBezTo>
                <a:cubicBezTo>
                  <a:pt x="844663" y="3010946"/>
                  <a:pt x="820519" y="2995220"/>
                  <a:pt x="785828" y="2998365"/>
                </a:cubicBezTo>
                <a:cubicBezTo>
                  <a:pt x="768436" y="2968207"/>
                  <a:pt x="741793" y="2957384"/>
                  <a:pt x="720886" y="2953776"/>
                </a:cubicBezTo>
                <a:cubicBezTo>
                  <a:pt x="720979" y="2932591"/>
                  <a:pt x="714966" y="2904469"/>
                  <a:pt x="688231" y="2882081"/>
                </a:cubicBezTo>
                <a:cubicBezTo>
                  <a:pt x="697297" y="2848501"/>
                  <a:pt x="686010" y="2821950"/>
                  <a:pt x="673892" y="2804651"/>
                </a:cubicBezTo>
                <a:cubicBezTo>
                  <a:pt x="688878" y="2789757"/>
                  <a:pt x="704605" y="2765612"/>
                  <a:pt x="701459" y="2730922"/>
                </a:cubicBezTo>
                <a:cubicBezTo>
                  <a:pt x="731617" y="2713530"/>
                  <a:pt x="742441" y="2686887"/>
                  <a:pt x="746049" y="2665980"/>
                </a:cubicBezTo>
                <a:cubicBezTo>
                  <a:pt x="767233" y="2666073"/>
                  <a:pt x="795356" y="2660060"/>
                  <a:pt x="817743" y="2633325"/>
                </a:cubicBezTo>
                <a:cubicBezTo>
                  <a:pt x="851324" y="2642391"/>
                  <a:pt x="877874" y="2631105"/>
                  <a:pt x="895173" y="2618986"/>
                </a:cubicBezTo>
                <a:cubicBezTo>
                  <a:pt x="910067" y="2633972"/>
                  <a:pt x="934212" y="2649699"/>
                  <a:pt x="968903" y="2646553"/>
                </a:cubicBezTo>
                <a:cubicBezTo>
                  <a:pt x="986295" y="2676711"/>
                  <a:pt x="1012937" y="2687535"/>
                  <a:pt x="1033844" y="2691143"/>
                </a:cubicBezTo>
                <a:cubicBezTo>
                  <a:pt x="1033752" y="2712327"/>
                  <a:pt x="1039765" y="2740450"/>
                  <a:pt x="1066500" y="2762837"/>
                </a:cubicBezTo>
                <a:cubicBezTo>
                  <a:pt x="1057434" y="2796510"/>
                  <a:pt x="1068720" y="2822968"/>
                  <a:pt x="1080839" y="2840267"/>
                </a:cubicBezTo>
                <a:cubicBezTo>
                  <a:pt x="1065852" y="2855161"/>
                  <a:pt x="1050126" y="2879306"/>
                  <a:pt x="1053271" y="2913997"/>
                </a:cubicBezTo>
                <a:cubicBezTo>
                  <a:pt x="1023113" y="2931389"/>
                  <a:pt x="1012290" y="2958031"/>
                  <a:pt x="1008682" y="2978846"/>
                </a:cubicBezTo>
                <a:cubicBezTo>
                  <a:pt x="987405" y="2978938"/>
                  <a:pt x="959282" y="2984859"/>
                  <a:pt x="936987" y="3011594"/>
                </a:cubicBezTo>
                <a:close/>
                <a:moveTo>
                  <a:pt x="1188334" y="2647201"/>
                </a:moveTo>
                <a:cubicBezTo>
                  <a:pt x="1186207" y="2623426"/>
                  <a:pt x="1165762" y="2605757"/>
                  <a:pt x="1138842" y="2603167"/>
                </a:cubicBezTo>
                <a:cubicBezTo>
                  <a:pt x="1140877" y="2576154"/>
                  <a:pt x="1127093" y="2553027"/>
                  <a:pt x="1104059" y="2546736"/>
                </a:cubicBezTo>
                <a:cubicBezTo>
                  <a:pt x="1039580" y="2529345"/>
                  <a:pt x="1023946" y="2614916"/>
                  <a:pt x="1082689" y="2607607"/>
                </a:cubicBezTo>
                <a:cubicBezTo>
                  <a:pt x="1082967" y="2635915"/>
                  <a:pt x="1006092" y="2650254"/>
                  <a:pt x="1018118" y="2587810"/>
                </a:cubicBezTo>
                <a:cubicBezTo>
                  <a:pt x="1036527" y="2491971"/>
                  <a:pt x="1101191" y="2535820"/>
                  <a:pt x="1220528" y="2534617"/>
                </a:cubicBezTo>
                <a:cubicBezTo>
                  <a:pt x="1198695" y="2651919"/>
                  <a:pt x="1230611" y="2723243"/>
                  <a:pt x="1133014" y="2724724"/>
                </a:cubicBezTo>
                <a:cubicBezTo>
                  <a:pt x="1069460" y="2725649"/>
                  <a:pt x="1096843" y="2652474"/>
                  <a:pt x="1124688" y="2657655"/>
                </a:cubicBezTo>
                <a:cubicBezTo>
                  <a:pt x="1107296" y="2714270"/>
                  <a:pt x="1194255" y="2713715"/>
                  <a:pt x="1188334" y="2647201"/>
                </a:cubicBezTo>
                <a:close/>
                <a:moveTo>
                  <a:pt x="1165300" y="3165714"/>
                </a:moveTo>
                <a:cubicBezTo>
                  <a:pt x="1047998" y="3143882"/>
                  <a:pt x="976674" y="3175797"/>
                  <a:pt x="975194" y="3078200"/>
                </a:cubicBezTo>
                <a:cubicBezTo>
                  <a:pt x="974268" y="3014647"/>
                  <a:pt x="1047443" y="3042029"/>
                  <a:pt x="1042263" y="3069875"/>
                </a:cubicBezTo>
                <a:cubicBezTo>
                  <a:pt x="985647" y="3052483"/>
                  <a:pt x="986202" y="3139534"/>
                  <a:pt x="1052716" y="3133521"/>
                </a:cubicBezTo>
                <a:cubicBezTo>
                  <a:pt x="1076491" y="3131393"/>
                  <a:pt x="1094160" y="3110949"/>
                  <a:pt x="1096750" y="3084029"/>
                </a:cubicBezTo>
                <a:cubicBezTo>
                  <a:pt x="1123763" y="3086064"/>
                  <a:pt x="1146890" y="3072280"/>
                  <a:pt x="1153181" y="3049245"/>
                </a:cubicBezTo>
                <a:cubicBezTo>
                  <a:pt x="1170573" y="2984766"/>
                  <a:pt x="1085002" y="2969132"/>
                  <a:pt x="1092310" y="3027876"/>
                </a:cubicBezTo>
                <a:cubicBezTo>
                  <a:pt x="1064002" y="3028153"/>
                  <a:pt x="1049663" y="2951278"/>
                  <a:pt x="1112107" y="2963304"/>
                </a:cubicBezTo>
                <a:cubicBezTo>
                  <a:pt x="1207946" y="2981714"/>
                  <a:pt x="1164097" y="3046377"/>
                  <a:pt x="1165300" y="3165714"/>
                </a:cubicBezTo>
                <a:close/>
                <a:moveTo>
                  <a:pt x="1231536" y="2757009"/>
                </a:moveTo>
                <a:cubicBezTo>
                  <a:pt x="1255958" y="2779766"/>
                  <a:pt x="1280936" y="2819823"/>
                  <a:pt x="1323490" y="2861637"/>
                </a:cubicBezTo>
                <a:cubicBezTo>
                  <a:pt x="1323490" y="2861637"/>
                  <a:pt x="1323490" y="2861637"/>
                  <a:pt x="1323490" y="2861637"/>
                </a:cubicBezTo>
                <a:lnTo>
                  <a:pt x="1323490" y="2861637"/>
                </a:lnTo>
                <a:cubicBezTo>
                  <a:pt x="1277421" y="2893275"/>
                  <a:pt x="1246800" y="2926116"/>
                  <a:pt x="1220065" y="2945080"/>
                </a:cubicBezTo>
                <a:cubicBezTo>
                  <a:pt x="1211184" y="2951371"/>
                  <a:pt x="1202673" y="2956181"/>
                  <a:pt x="1194162" y="2958864"/>
                </a:cubicBezTo>
                <a:cubicBezTo>
                  <a:pt x="1190740" y="2959974"/>
                  <a:pt x="1187409" y="2960714"/>
                  <a:pt x="1183986" y="2960992"/>
                </a:cubicBezTo>
                <a:cubicBezTo>
                  <a:pt x="1166872" y="2962842"/>
                  <a:pt x="1149111" y="2955348"/>
                  <a:pt x="1127278" y="2934072"/>
                </a:cubicBezTo>
                <a:cubicBezTo>
                  <a:pt x="1081671" y="2889760"/>
                  <a:pt x="1152811" y="2857474"/>
                  <a:pt x="1168815" y="2880786"/>
                </a:cubicBezTo>
                <a:cubicBezTo>
                  <a:pt x="1116455" y="2908539"/>
                  <a:pt x="1178436" y="2969687"/>
                  <a:pt x="1221267" y="2918437"/>
                </a:cubicBezTo>
                <a:cubicBezTo>
                  <a:pt x="1225060" y="2913812"/>
                  <a:pt x="1227836" y="2908724"/>
                  <a:pt x="1229593" y="2903266"/>
                </a:cubicBezTo>
                <a:cubicBezTo>
                  <a:pt x="1231258" y="2897808"/>
                  <a:pt x="1231906" y="2892072"/>
                  <a:pt x="1231629" y="2886244"/>
                </a:cubicBezTo>
                <a:cubicBezTo>
                  <a:pt x="1230889" y="2874588"/>
                  <a:pt x="1226078" y="2862655"/>
                  <a:pt x="1217567" y="2852201"/>
                </a:cubicBezTo>
                <a:cubicBezTo>
                  <a:pt x="1217567" y="2852201"/>
                  <a:pt x="1217567" y="2852201"/>
                  <a:pt x="1217567" y="2852201"/>
                </a:cubicBezTo>
                <a:cubicBezTo>
                  <a:pt x="1217567" y="2852201"/>
                  <a:pt x="1217567" y="2852201"/>
                  <a:pt x="1217567" y="2852201"/>
                </a:cubicBezTo>
                <a:cubicBezTo>
                  <a:pt x="1230426" y="2841192"/>
                  <a:pt x="1237827" y="2826854"/>
                  <a:pt x="1238659" y="2812607"/>
                </a:cubicBezTo>
                <a:cubicBezTo>
                  <a:pt x="1239029" y="2806872"/>
                  <a:pt x="1238289" y="2801228"/>
                  <a:pt x="1236439" y="2795770"/>
                </a:cubicBezTo>
                <a:cubicBezTo>
                  <a:pt x="1235514" y="2792995"/>
                  <a:pt x="1234311" y="2790405"/>
                  <a:pt x="1232831" y="2787815"/>
                </a:cubicBezTo>
                <a:cubicBezTo>
                  <a:pt x="1199528" y="2729904"/>
                  <a:pt x="1127926" y="2779396"/>
                  <a:pt x="1174643" y="2815752"/>
                </a:cubicBezTo>
                <a:cubicBezTo>
                  <a:pt x="1154846" y="2835919"/>
                  <a:pt x="1090367" y="2791793"/>
                  <a:pt x="1143005" y="2756084"/>
                </a:cubicBezTo>
                <a:cubicBezTo>
                  <a:pt x="1173255" y="2735547"/>
                  <a:pt x="1194255" y="2733512"/>
                  <a:pt x="1213219" y="2743410"/>
                </a:cubicBezTo>
                <a:cubicBezTo>
                  <a:pt x="1219325" y="2746648"/>
                  <a:pt x="1225431" y="2751274"/>
                  <a:pt x="1231536" y="2757009"/>
                </a:cubicBezTo>
                <a:close/>
                <a:moveTo>
                  <a:pt x="1262804" y="2461258"/>
                </a:moveTo>
                <a:cubicBezTo>
                  <a:pt x="1204153" y="2357371"/>
                  <a:pt x="1133847" y="2323235"/>
                  <a:pt x="1207669" y="2259403"/>
                </a:cubicBezTo>
                <a:cubicBezTo>
                  <a:pt x="1255773" y="2217867"/>
                  <a:pt x="1281768" y="2291504"/>
                  <a:pt x="1257161" y="2305473"/>
                </a:cubicBezTo>
                <a:cubicBezTo>
                  <a:pt x="1234126" y="2250893"/>
                  <a:pt x="1167797" y="2307323"/>
                  <a:pt x="1215069" y="2354410"/>
                </a:cubicBezTo>
                <a:cubicBezTo>
                  <a:pt x="1231999" y="2371247"/>
                  <a:pt x="1259011" y="2371617"/>
                  <a:pt x="1281306" y="2356353"/>
                </a:cubicBezTo>
                <a:cubicBezTo>
                  <a:pt x="1297032" y="2378370"/>
                  <a:pt x="1322565" y="2387251"/>
                  <a:pt x="1344212" y="2377167"/>
                </a:cubicBezTo>
                <a:cubicBezTo>
                  <a:pt x="1404805" y="2349044"/>
                  <a:pt x="1361789" y="2273465"/>
                  <a:pt x="1321455" y="2316759"/>
                </a:cubicBezTo>
                <a:cubicBezTo>
                  <a:pt x="1303046" y="2295204"/>
                  <a:pt x="1352723" y="2234888"/>
                  <a:pt x="1383713" y="2290394"/>
                </a:cubicBezTo>
                <a:cubicBezTo>
                  <a:pt x="1431170" y="2375687"/>
                  <a:pt x="1353463" y="2383735"/>
                  <a:pt x="1262804" y="2461258"/>
                </a:cubicBezTo>
                <a:close/>
                <a:moveTo>
                  <a:pt x="1147075" y="2063099"/>
                </a:moveTo>
                <a:cubicBezTo>
                  <a:pt x="1159009" y="2030351"/>
                  <a:pt x="1150128" y="2003061"/>
                  <a:pt x="1139490" y="1984744"/>
                </a:cubicBezTo>
                <a:cubicBezTo>
                  <a:pt x="1155771" y="1971145"/>
                  <a:pt x="1173440" y="1948481"/>
                  <a:pt x="1173440" y="1913697"/>
                </a:cubicBezTo>
                <a:cubicBezTo>
                  <a:pt x="1205078" y="1898988"/>
                  <a:pt x="1218122" y="1873363"/>
                  <a:pt x="1223488" y="1852919"/>
                </a:cubicBezTo>
                <a:cubicBezTo>
                  <a:pt x="1244580" y="1854862"/>
                  <a:pt x="1273165" y="1851346"/>
                  <a:pt x="1297680" y="1826646"/>
                </a:cubicBezTo>
                <a:cubicBezTo>
                  <a:pt x="1330428" y="1838580"/>
                  <a:pt x="1357718" y="1829699"/>
                  <a:pt x="1376035" y="1819061"/>
                </a:cubicBezTo>
                <a:cubicBezTo>
                  <a:pt x="1389541" y="1835342"/>
                  <a:pt x="1412299" y="1853011"/>
                  <a:pt x="1447082" y="1853011"/>
                </a:cubicBezTo>
                <a:cubicBezTo>
                  <a:pt x="1461791" y="1884557"/>
                  <a:pt x="1487416" y="1897693"/>
                  <a:pt x="1507861" y="1903059"/>
                </a:cubicBezTo>
                <a:cubicBezTo>
                  <a:pt x="1505918" y="1924151"/>
                  <a:pt x="1509433" y="1952736"/>
                  <a:pt x="1534133" y="1977251"/>
                </a:cubicBezTo>
                <a:cubicBezTo>
                  <a:pt x="1522199" y="2009999"/>
                  <a:pt x="1531080" y="2037289"/>
                  <a:pt x="1541719" y="2055606"/>
                </a:cubicBezTo>
                <a:cubicBezTo>
                  <a:pt x="1525437" y="2069205"/>
                  <a:pt x="1507768" y="2091870"/>
                  <a:pt x="1507768" y="2126653"/>
                </a:cubicBezTo>
                <a:cubicBezTo>
                  <a:pt x="1476130" y="2141362"/>
                  <a:pt x="1463086" y="2166987"/>
                  <a:pt x="1457721" y="2187431"/>
                </a:cubicBezTo>
                <a:cubicBezTo>
                  <a:pt x="1436629" y="2185489"/>
                  <a:pt x="1408043" y="2189004"/>
                  <a:pt x="1383528" y="2213704"/>
                </a:cubicBezTo>
                <a:cubicBezTo>
                  <a:pt x="1350873" y="2201770"/>
                  <a:pt x="1323490" y="2210651"/>
                  <a:pt x="1305173" y="2221290"/>
                </a:cubicBezTo>
                <a:cubicBezTo>
                  <a:pt x="1291574" y="2205008"/>
                  <a:pt x="1268910" y="2187339"/>
                  <a:pt x="1234126" y="2187339"/>
                </a:cubicBezTo>
                <a:cubicBezTo>
                  <a:pt x="1219417" y="2155793"/>
                  <a:pt x="1193792" y="2142657"/>
                  <a:pt x="1173348" y="2137292"/>
                </a:cubicBezTo>
                <a:cubicBezTo>
                  <a:pt x="1175198" y="2116199"/>
                  <a:pt x="1171775" y="2087707"/>
                  <a:pt x="1147075" y="2063099"/>
                </a:cubicBezTo>
                <a:close/>
                <a:moveTo>
                  <a:pt x="1298420" y="1444492"/>
                </a:moveTo>
                <a:cubicBezTo>
                  <a:pt x="1322195" y="1446527"/>
                  <a:pt x="1343102" y="1429505"/>
                  <a:pt x="1350410" y="1403418"/>
                </a:cubicBezTo>
                <a:cubicBezTo>
                  <a:pt x="1376590" y="1410171"/>
                  <a:pt x="1401845" y="1400550"/>
                  <a:pt x="1412021" y="1378903"/>
                </a:cubicBezTo>
                <a:cubicBezTo>
                  <a:pt x="1440329" y="1318402"/>
                  <a:pt x="1358828" y="1288151"/>
                  <a:pt x="1355776" y="1347265"/>
                </a:cubicBezTo>
                <a:cubicBezTo>
                  <a:pt x="1327838" y="1342639"/>
                  <a:pt x="1327098" y="1264469"/>
                  <a:pt x="1386489" y="1287134"/>
                </a:cubicBezTo>
                <a:cubicBezTo>
                  <a:pt x="1477702" y="1321825"/>
                  <a:pt x="1423307" y="1377978"/>
                  <a:pt x="1403695" y="1495649"/>
                </a:cubicBezTo>
                <a:cubicBezTo>
                  <a:pt x="1291944" y="1453743"/>
                  <a:pt x="1216180" y="1472799"/>
                  <a:pt x="1231721" y="1376497"/>
                </a:cubicBezTo>
                <a:cubicBezTo>
                  <a:pt x="1241805" y="1313684"/>
                  <a:pt x="1309151" y="1353463"/>
                  <a:pt x="1299160" y="1379920"/>
                </a:cubicBezTo>
                <a:cubicBezTo>
                  <a:pt x="1246430" y="1353000"/>
                  <a:pt x="1231906" y="1438756"/>
                  <a:pt x="1298420" y="1444492"/>
                </a:cubicBezTo>
                <a:close/>
                <a:moveTo>
                  <a:pt x="1372520" y="1544124"/>
                </a:moveTo>
                <a:cubicBezTo>
                  <a:pt x="1332001" y="1574744"/>
                  <a:pt x="1285006" y="1611008"/>
                  <a:pt x="1261139" y="1661888"/>
                </a:cubicBezTo>
                <a:cubicBezTo>
                  <a:pt x="1209056" y="1618316"/>
                  <a:pt x="1135142" y="1608417"/>
                  <a:pt x="1080469" y="1595651"/>
                </a:cubicBezTo>
                <a:cubicBezTo>
                  <a:pt x="1127556" y="1564938"/>
                  <a:pt x="1193607" y="1530432"/>
                  <a:pt x="1227558" y="1471597"/>
                </a:cubicBezTo>
                <a:cubicBezTo>
                  <a:pt x="1267337" y="1511283"/>
                  <a:pt x="1323953" y="1529230"/>
                  <a:pt x="1372520" y="1544124"/>
                </a:cubicBezTo>
                <a:close/>
                <a:moveTo>
                  <a:pt x="1083707" y="1653284"/>
                </a:moveTo>
                <a:cubicBezTo>
                  <a:pt x="1144763" y="1670306"/>
                  <a:pt x="1194255" y="1671046"/>
                  <a:pt x="1226078" y="1682610"/>
                </a:cubicBezTo>
                <a:cubicBezTo>
                  <a:pt x="1227928" y="1683257"/>
                  <a:pt x="1229778" y="1683997"/>
                  <a:pt x="1231536" y="1684737"/>
                </a:cubicBezTo>
                <a:cubicBezTo>
                  <a:pt x="1235051" y="1686218"/>
                  <a:pt x="1238289" y="1687975"/>
                  <a:pt x="1241342" y="1689826"/>
                </a:cubicBezTo>
                <a:cubicBezTo>
                  <a:pt x="1244302" y="1691768"/>
                  <a:pt x="1247078" y="1693896"/>
                  <a:pt x="1249575" y="1696209"/>
                </a:cubicBezTo>
                <a:cubicBezTo>
                  <a:pt x="1250778" y="1697411"/>
                  <a:pt x="1251981" y="1698614"/>
                  <a:pt x="1253091" y="1700001"/>
                </a:cubicBezTo>
                <a:cubicBezTo>
                  <a:pt x="1255311" y="1702684"/>
                  <a:pt x="1257253" y="1705552"/>
                  <a:pt x="1258919" y="1708882"/>
                </a:cubicBezTo>
                <a:cubicBezTo>
                  <a:pt x="1264654" y="1720261"/>
                  <a:pt x="1267060" y="1735710"/>
                  <a:pt x="1265487" y="1756987"/>
                </a:cubicBezTo>
                <a:cubicBezTo>
                  <a:pt x="1260861" y="1820356"/>
                  <a:pt x="1190370" y="1786682"/>
                  <a:pt x="1197955" y="1759392"/>
                </a:cubicBezTo>
                <a:cubicBezTo>
                  <a:pt x="1252813" y="1781687"/>
                  <a:pt x="1259844" y="1694913"/>
                  <a:pt x="1193052" y="1695006"/>
                </a:cubicBezTo>
                <a:cubicBezTo>
                  <a:pt x="1187039" y="1695006"/>
                  <a:pt x="1181396" y="1696209"/>
                  <a:pt x="1176123" y="1698429"/>
                </a:cubicBezTo>
                <a:cubicBezTo>
                  <a:pt x="1160397" y="1704997"/>
                  <a:pt x="1148555" y="1720538"/>
                  <a:pt x="1144855" y="1740520"/>
                </a:cubicBezTo>
                <a:cubicBezTo>
                  <a:pt x="1144855" y="1740520"/>
                  <a:pt x="1144855" y="1740520"/>
                  <a:pt x="1144855" y="1740520"/>
                </a:cubicBezTo>
                <a:cubicBezTo>
                  <a:pt x="1144855" y="1740520"/>
                  <a:pt x="1144855" y="1740520"/>
                  <a:pt x="1144855" y="1740520"/>
                </a:cubicBezTo>
                <a:cubicBezTo>
                  <a:pt x="1138194" y="1739410"/>
                  <a:pt x="1131626" y="1739318"/>
                  <a:pt x="1125521" y="1740150"/>
                </a:cubicBezTo>
                <a:cubicBezTo>
                  <a:pt x="1113217" y="1741816"/>
                  <a:pt x="1102301" y="1747181"/>
                  <a:pt x="1094623" y="1755507"/>
                </a:cubicBezTo>
                <a:cubicBezTo>
                  <a:pt x="1090737" y="1759670"/>
                  <a:pt x="1087685" y="1764665"/>
                  <a:pt x="1085649" y="1770216"/>
                </a:cubicBezTo>
                <a:cubicBezTo>
                  <a:pt x="1062707" y="1832937"/>
                  <a:pt x="1146613" y="1855972"/>
                  <a:pt x="1144485" y="1796766"/>
                </a:cubicBezTo>
                <a:cubicBezTo>
                  <a:pt x="1172700" y="1798986"/>
                  <a:pt x="1180286" y="1876786"/>
                  <a:pt x="1119138" y="1859394"/>
                </a:cubicBezTo>
                <a:cubicBezTo>
                  <a:pt x="1098601" y="1853566"/>
                  <a:pt x="1084909" y="1846073"/>
                  <a:pt x="1076213" y="1836822"/>
                </a:cubicBezTo>
                <a:cubicBezTo>
                  <a:pt x="1073716" y="1834139"/>
                  <a:pt x="1071588" y="1831364"/>
                  <a:pt x="1069830" y="1828311"/>
                </a:cubicBezTo>
                <a:cubicBezTo>
                  <a:pt x="1067240" y="1823871"/>
                  <a:pt x="1065390" y="1818968"/>
                  <a:pt x="1064280" y="1813788"/>
                </a:cubicBezTo>
                <a:cubicBezTo>
                  <a:pt x="1063540" y="1810272"/>
                  <a:pt x="1063077" y="1806664"/>
                  <a:pt x="1062800" y="1802872"/>
                </a:cubicBezTo>
                <a:cubicBezTo>
                  <a:pt x="1062707" y="1800929"/>
                  <a:pt x="1062615" y="1798986"/>
                  <a:pt x="1062615" y="1797043"/>
                </a:cubicBezTo>
                <a:cubicBezTo>
                  <a:pt x="1062615" y="1793066"/>
                  <a:pt x="1062892" y="1788903"/>
                  <a:pt x="1063262" y="1784555"/>
                </a:cubicBezTo>
                <a:cubicBezTo>
                  <a:pt x="1066222" y="1751992"/>
                  <a:pt x="1079359" y="1709067"/>
                  <a:pt x="1083707" y="1653284"/>
                </a:cubicBezTo>
                <a:close/>
                <a:moveTo>
                  <a:pt x="1618501" y="2249320"/>
                </a:moveTo>
                <a:cubicBezTo>
                  <a:pt x="1616744" y="2282716"/>
                  <a:pt x="1602127" y="2327583"/>
                  <a:pt x="1597502" y="2387066"/>
                </a:cubicBezTo>
                <a:cubicBezTo>
                  <a:pt x="1543661" y="2372079"/>
                  <a:pt x="1498795" y="2369767"/>
                  <a:pt x="1467064" y="2361441"/>
                </a:cubicBezTo>
                <a:cubicBezTo>
                  <a:pt x="1460681" y="2359776"/>
                  <a:pt x="1454945" y="2357926"/>
                  <a:pt x="1449672" y="2355613"/>
                </a:cubicBezTo>
                <a:cubicBezTo>
                  <a:pt x="1446157" y="2354133"/>
                  <a:pt x="1442919" y="2352375"/>
                  <a:pt x="1439866" y="2350525"/>
                </a:cubicBezTo>
                <a:cubicBezTo>
                  <a:pt x="1436906" y="2348582"/>
                  <a:pt x="1434131" y="2346454"/>
                  <a:pt x="1431633" y="2344142"/>
                </a:cubicBezTo>
                <a:cubicBezTo>
                  <a:pt x="1419237" y="2332208"/>
                  <a:pt x="1413594" y="2313799"/>
                  <a:pt x="1415814" y="2283363"/>
                </a:cubicBezTo>
                <a:cubicBezTo>
                  <a:pt x="1420440" y="2219995"/>
                  <a:pt x="1490931" y="2253668"/>
                  <a:pt x="1483346" y="2280958"/>
                </a:cubicBezTo>
                <a:cubicBezTo>
                  <a:pt x="1428488" y="2258663"/>
                  <a:pt x="1421457" y="2345437"/>
                  <a:pt x="1488156" y="2345344"/>
                </a:cubicBezTo>
                <a:cubicBezTo>
                  <a:pt x="1494169" y="2345344"/>
                  <a:pt x="1499812" y="2344142"/>
                  <a:pt x="1505085" y="2341921"/>
                </a:cubicBezTo>
                <a:cubicBezTo>
                  <a:pt x="1520812" y="2335353"/>
                  <a:pt x="1532653" y="2319812"/>
                  <a:pt x="1536353" y="2299830"/>
                </a:cubicBezTo>
                <a:cubicBezTo>
                  <a:pt x="1536353" y="2299830"/>
                  <a:pt x="1536353" y="2299830"/>
                  <a:pt x="1536353" y="2299830"/>
                </a:cubicBezTo>
                <a:cubicBezTo>
                  <a:pt x="1536353" y="2299830"/>
                  <a:pt x="1536353" y="2299830"/>
                  <a:pt x="1536353" y="2299830"/>
                </a:cubicBezTo>
                <a:cubicBezTo>
                  <a:pt x="1545419" y="2301310"/>
                  <a:pt x="1554207" y="2300847"/>
                  <a:pt x="1562163" y="2298812"/>
                </a:cubicBezTo>
                <a:cubicBezTo>
                  <a:pt x="1564661" y="2298165"/>
                  <a:pt x="1566974" y="2297332"/>
                  <a:pt x="1569286" y="2296407"/>
                </a:cubicBezTo>
                <a:cubicBezTo>
                  <a:pt x="1573172" y="2294834"/>
                  <a:pt x="1576965" y="2292892"/>
                  <a:pt x="1580202" y="2290486"/>
                </a:cubicBezTo>
                <a:cubicBezTo>
                  <a:pt x="1587048" y="2285398"/>
                  <a:pt x="1592414" y="2278460"/>
                  <a:pt x="1595467" y="2270042"/>
                </a:cubicBezTo>
                <a:cubicBezTo>
                  <a:pt x="1618409" y="2207321"/>
                  <a:pt x="1534503" y="2184286"/>
                  <a:pt x="1536631" y="2243492"/>
                </a:cubicBezTo>
                <a:cubicBezTo>
                  <a:pt x="1508416" y="2241272"/>
                  <a:pt x="1500830" y="2163471"/>
                  <a:pt x="1561978" y="2180863"/>
                </a:cubicBezTo>
                <a:cubicBezTo>
                  <a:pt x="1594264" y="2190021"/>
                  <a:pt x="1609620" y="2203158"/>
                  <a:pt x="1615448" y="2221382"/>
                </a:cubicBezTo>
                <a:cubicBezTo>
                  <a:pt x="1617576" y="2227950"/>
                  <a:pt x="1618501" y="2235259"/>
                  <a:pt x="1618501" y="2243214"/>
                </a:cubicBezTo>
                <a:cubicBezTo>
                  <a:pt x="1618686" y="2245249"/>
                  <a:pt x="1618594" y="2247285"/>
                  <a:pt x="1618501" y="2249320"/>
                </a:cubicBezTo>
                <a:close/>
                <a:moveTo>
                  <a:pt x="1781687" y="2097975"/>
                </a:moveTo>
                <a:cubicBezTo>
                  <a:pt x="1677800" y="2156626"/>
                  <a:pt x="1643664" y="2226933"/>
                  <a:pt x="1579833" y="2153110"/>
                </a:cubicBezTo>
                <a:cubicBezTo>
                  <a:pt x="1538296" y="2105006"/>
                  <a:pt x="1611933" y="2079011"/>
                  <a:pt x="1625902" y="2103618"/>
                </a:cubicBezTo>
                <a:cubicBezTo>
                  <a:pt x="1571322" y="2126653"/>
                  <a:pt x="1627752" y="2192982"/>
                  <a:pt x="1674839" y="2145710"/>
                </a:cubicBezTo>
                <a:cubicBezTo>
                  <a:pt x="1691676" y="2128781"/>
                  <a:pt x="1692046" y="2101768"/>
                  <a:pt x="1676782" y="2079473"/>
                </a:cubicBezTo>
                <a:cubicBezTo>
                  <a:pt x="1698799" y="2063747"/>
                  <a:pt x="1707680" y="2038214"/>
                  <a:pt x="1697596" y="2016567"/>
                </a:cubicBezTo>
                <a:cubicBezTo>
                  <a:pt x="1669474" y="1955974"/>
                  <a:pt x="1593894" y="1998990"/>
                  <a:pt x="1637188" y="2039324"/>
                </a:cubicBezTo>
                <a:cubicBezTo>
                  <a:pt x="1615633" y="2057734"/>
                  <a:pt x="1555318" y="2008056"/>
                  <a:pt x="1610823" y="1977066"/>
                </a:cubicBezTo>
                <a:cubicBezTo>
                  <a:pt x="1696116" y="1929609"/>
                  <a:pt x="1704165" y="2007316"/>
                  <a:pt x="1781687" y="2097975"/>
                </a:cubicBezTo>
                <a:close/>
                <a:moveTo>
                  <a:pt x="1536908" y="1746903"/>
                </a:moveTo>
                <a:cubicBezTo>
                  <a:pt x="1571507" y="1731547"/>
                  <a:pt x="1625717" y="1756895"/>
                  <a:pt x="1707495" y="1763278"/>
                </a:cubicBezTo>
                <a:cubicBezTo>
                  <a:pt x="1707495" y="1763278"/>
                  <a:pt x="1707495" y="1763278"/>
                  <a:pt x="1707495" y="1763278"/>
                </a:cubicBezTo>
                <a:lnTo>
                  <a:pt x="1707495" y="1763278"/>
                </a:lnTo>
                <a:cubicBezTo>
                  <a:pt x="1703517" y="1777616"/>
                  <a:pt x="1700372" y="1791400"/>
                  <a:pt x="1697874" y="1804351"/>
                </a:cubicBezTo>
                <a:cubicBezTo>
                  <a:pt x="1695654" y="1815545"/>
                  <a:pt x="1693896" y="1826091"/>
                  <a:pt x="1692323" y="1836175"/>
                </a:cubicBezTo>
                <a:cubicBezTo>
                  <a:pt x="1691398" y="1842188"/>
                  <a:pt x="1690473" y="1847923"/>
                  <a:pt x="1689548" y="1853474"/>
                </a:cubicBezTo>
                <a:cubicBezTo>
                  <a:pt x="1689086" y="1856527"/>
                  <a:pt x="1688531" y="1859579"/>
                  <a:pt x="1688068" y="1862540"/>
                </a:cubicBezTo>
                <a:cubicBezTo>
                  <a:pt x="1684090" y="1886962"/>
                  <a:pt x="1679835" y="1906759"/>
                  <a:pt x="1670861" y="1920913"/>
                </a:cubicBezTo>
                <a:cubicBezTo>
                  <a:pt x="1668919" y="1923873"/>
                  <a:pt x="1666791" y="1926648"/>
                  <a:pt x="1664478" y="1929146"/>
                </a:cubicBezTo>
                <a:cubicBezTo>
                  <a:pt x="1652545" y="1941542"/>
                  <a:pt x="1634135" y="1947185"/>
                  <a:pt x="1603700" y="1944965"/>
                </a:cubicBezTo>
                <a:cubicBezTo>
                  <a:pt x="1540331" y="1940340"/>
                  <a:pt x="1574004" y="1869848"/>
                  <a:pt x="1601295" y="1877434"/>
                </a:cubicBezTo>
                <a:cubicBezTo>
                  <a:pt x="1579000" y="1932292"/>
                  <a:pt x="1665773" y="1939322"/>
                  <a:pt x="1665681" y="1872531"/>
                </a:cubicBezTo>
                <a:cubicBezTo>
                  <a:pt x="1665681" y="1869570"/>
                  <a:pt x="1665403" y="1866610"/>
                  <a:pt x="1664848" y="1863835"/>
                </a:cubicBezTo>
                <a:cubicBezTo>
                  <a:pt x="1663923" y="1859209"/>
                  <a:pt x="1662073" y="1854862"/>
                  <a:pt x="1659760" y="1850699"/>
                </a:cubicBezTo>
                <a:cubicBezTo>
                  <a:pt x="1658188" y="1847831"/>
                  <a:pt x="1656245" y="1845148"/>
                  <a:pt x="1654117" y="1842743"/>
                </a:cubicBezTo>
                <a:cubicBezTo>
                  <a:pt x="1653747" y="1842280"/>
                  <a:pt x="1653470" y="1841818"/>
                  <a:pt x="1653007" y="1841355"/>
                </a:cubicBezTo>
                <a:cubicBezTo>
                  <a:pt x="1644959" y="1832937"/>
                  <a:pt x="1633580" y="1826831"/>
                  <a:pt x="1620351" y="1824333"/>
                </a:cubicBezTo>
                <a:cubicBezTo>
                  <a:pt x="1620351" y="1824333"/>
                  <a:pt x="1620351" y="1824333"/>
                  <a:pt x="1620351" y="1824333"/>
                </a:cubicBezTo>
                <a:cubicBezTo>
                  <a:pt x="1620351" y="1824333"/>
                  <a:pt x="1620351" y="1824333"/>
                  <a:pt x="1620351" y="1824333"/>
                </a:cubicBezTo>
                <a:cubicBezTo>
                  <a:pt x="1624237" y="1801021"/>
                  <a:pt x="1615726" y="1779467"/>
                  <a:pt x="1598519" y="1768921"/>
                </a:cubicBezTo>
                <a:cubicBezTo>
                  <a:pt x="1596022" y="1767440"/>
                  <a:pt x="1593431" y="1766145"/>
                  <a:pt x="1590656" y="1765128"/>
                </a:cubicBezTo>
                <a:cubicBezTo>
                  <a:pt x="1527935" y="1742186"/>
                  <a:pt x="1504900" y="1826091"/>
                  <a:pt x="1564106" y="1823964"/>
                </a:cubicBezTo>
                <a:cubicBezTo>
                  <a:pt x="1561886" y="1852179"/>
                  <a:pt x="1484086" y="1859764"/>
                  <a:pt x="1501477" y="1798616"/>
                </a:cubicBezTo>
                <a:cubicBezTo>
                  <a:pt x="1509618" y="1769291"/>
                  <a:pt x="1521274" y="1753934"/>
                  <a:pt x="1536908" y="1746903"/>
                </a:cubicBezTo>
                <a:close/>
                <a:moveTo>
                  <a:pt x="1473540" y="1780947"/>
                </a:moveTo>
                <a:cubicBezTo>
                  <a:pt x="1425435" y="1822576"/>
                  <a:pt x="1399440" y="1748846"/>
                  <a:pt x="1424047" y="1734877"/>
                </a:cubicBezTo>
                <a:cubicBezTo>
                  <a:pt x="1447175" y="1789458"/>
                  <a:pt x="1513411" y="1733027"/>
                  <a:pt x="1466139" y="1685940"/>
                </a:cubicBezTo>
                <a:cubicBezTo>
                  <a:pt x="1449210" y="1669103"/>
                  <a:pt x="1422197" y="1668733"/>
                  <a:pt x="1399903" y="1683997"/>
                </a:cubicBezTo>
                <a:cubicBezTo>
                  <a:pt x="1384176" y="1661980"/>
                  <a:pt x="1358643" y="1653099"/>
                  <a:pt x="1336996" y="1663183"/>
                </a:cubicBezTo>
                <a:cubicBezTo>
                  <a:pt x="1276403" y="1691306"/>
                  <a:pt x="1319420" y="1766885"/>
                  <a:pt x="1359753" y="1723591"/>
                </a:cubicBezTo>
                <a:cubicBezTo>
                  <a:pt x="1378163" y="1745146"/>
                  <a:pt x="1328486" y="1805462"/>
                  <a:pt x="1297495" y="1749956"/>
                </a:cubicBezTo>
                <a:cubicBezTo>
                  <a:pt x="1249945" y="1664755"/>
                  <a:pt x="1327653" y="1656707"/>
                  <a:pt x="1418312" y="1579185"/>
                </a:cubicBezTo>
                <a:cubicBezTo>
                  <a:pt x="1477055" y="1682980"/>
                  <a:pt x="1547362" y="1717115"/>
                  <a:pt x="1473540" y="1780947"/>
                </a:cubicBezTo>
                <a:close/>
                <a:moveTo>
                  <a:pt x="1612303" y="1223673"/>
                </a:moveTo>
                <a:lnTo>
                  <a:pt x="1612303" y="1223673"/>
                </a:lnTo>
                <a:cubicBezTo>
                  <a:pt x="1612303" y="1223673"/>
                  <a:pt x="1612396" y="1223673"/>
                  <a:pt x="1612303" y="1223673"/>
                </a:cubicBezTo>
                <a:cubicBezTo>
                  <a:pt x="1558000" y="1248372"/>
                  <a:pt x="1520812" y="1277513"/>
                  <a:pt x="1490099" y="1290557"/>
                </a:cubicBezTo>
                <a:cubicBezTo>
                  <a:pt x="1488156" y="1291389"/>
                  <a:pt x="1486306" y="1292129"/>
                  <a:pt x="1484363" y="1292777"/>
                </a:cubicBezTo>
                <a:cubicBezTo>
                  <a:pt x="1480570" y="1294165"/>
                  <a:pt x="1476962" y="1295275"/>
                  <a:pt x="1473355" y="1296015"/>
                </a:cubicBezTo>
                <a:cubicBezTo>
                  <a:pt x="1450042" y="1301103"/>
                  <a:pt x="1429598" y="1293147"/>
                  <a:pt x="1406378" y="1260954"/>
                </a:cubicBezTo>
                <a:cubicBezTo>
                  <a:pt x="1369189" y="1209426"/>
                  <a:pt x="1444769" y="1189907"/>
                  <a:pt x="1456518" y="1215717"/>
                </a:cubicBezTo>
                <a:cubicBezTo>
                  <a:pt x="1400180" y="1233941"/>
                  <a:pt x="1450505" y="1304895"/>
                  <a:pt x="1501570" y="1261879"/>
                </a:cubicBezTo>
                <a:cubicBezTo>
                  <a:pt x="1506103" y="1257993"/>
                  <a:pt x="1509711" y="1253460"/>
                  <a:pt x="1512393" y="1248372"/>
                </a:cubicBezTo>
                <a:cubicBezTo>
                  <a:pt x="1520257" y="1233201"/>
                  <a:pt x="1519332" y="1213682"/>
                  <a:pt x="1509341" y="1196012"/>
                </a:cubicBezTo>
                <a:cubicBezTo>
                  <a:pt x="1509341" y="1196012"/>
                  <a:pt x="1509341" y="1196012"/>
                  <a:pt x="1509341" y="1196012"/>
                </a:cubicBezTo>
                <a:cubicBezTo>
                  <a:pt x="1509341" y="1196012"/>
                  <a:pt x="1509341" y="1196012"/>
                  <a:pt x="1509341" y="1196012"/>
                </a:cubicBezTo>
                <a:cubicBezTo>
                  <a:pt x="1518036" y="1190832"/>
                  <a:pt x="1525067" y="1184171"/>
                  <a:pt x="1529970" y="1176586"/>
                </a:cubicBezTo>
                <a:cubicBezTo>
                  <a:pt x="1533300" y="1171590"/>
                  <a:pt x="1535613" y="1166132"/>
                  <a:pt x="1536908" y="1160582"/>
                </a:cubicBezTo>
                <a:cubicBezTo>
                  <a:pt x="1538851" y="1152256"/>
                  <a:pt x="1538573" y="1143467"/>
                  <a:pt x="1535521" y="1135049"/>
                </a:cubicBezTo>
                <a:cubicBezTo>
                  <a:pt x="1512763" y="1072235"/>
                  <a:pt x="1433668" y="1108499"/>
                  <a:pt x="1473355" y="1152441"/>
                </a:cubicBezTo>
                <a:cubicBezTo>
                  <a:pt x="1450320" y="1168907"/>
                  <a:pt x="1394537" y="1114142"/>
                  <a:pt x="1452540" y="1088147"/>
                </a:cubicBezTo>
                <a:cubicBezTo>
                  <a:pt x="1485936" y="1073161"/>
                  <a:pt x="1506935" y="1074826"/>
                  <a:pt x="1523865" y="1087777"/>
                </a:cubicBezTo>
                <a:cubicBezTo>
                  <a:pt x="1525992" y="1089442"/>
                  <a:pt x="1528027" y="1091292"/>
                  <a:pt x="1529970" y="1093235"/>
                </a:cubicBezTo>
                <a:cubicBezTo>
                  <a:pt x="1532005" y="1095178"/>
                  <a:pt x="1533948" y="1097305"/>
                  <a:pt x="1535891" y="1099618"/>
                </a:cubicBezTo>
                <a:cubicBezTo>
                  <a:pt x="1540516" y="1105169"/>
                  <a:pt x="1544957" y="1111644"/>
                  <a:pt x="1549490" y="1118952"/>
                </a:cubicBezTo>
                <a:cubicBezTo>
                  <a:pt x="1550785" y="1121080"/>
                  <a:pt x="1552080" y="1123208"/>
                  <a:pt x="1553467" y="1125428"/>
                </a:cubicBezTo>
                <a:cubicBezTo>
                  <a:pt x="1554207" y="1126631"/>
                  <a:pt x="1554948" y="1127926"/>
                  <a:pt x="1555595" y="1129128"/>
                </a:cubicBezTo>
                <a:cubicBezTo>
                  <a:pt x="1557538" y="1132459"/>
                  <a:pt x="1559481" y="1135882"/>
                  <a:pt x="1561423" y="1139489"/>
                </a:cubicBezTo>
                <a:cubicBezTo>
                  <a:pt x="1575022" y="1163634"/>
                  <a:pt x="1590193" y="1192682"/>
                  <a:pt x="1612303" y="1223673"/>
                </a:cubicBezTo>
                <a:close/>
                <a:moveTo>
                  <a:pt x="1567621" y="883795"/>
                </a:moveTo>
                <a:cubicBezTo>
                  <a:pt x="1525715" y="995545"/>
                  <a:pt x="1544772" y="1071310"/>
                  <a:pt x="1448470" y="1055769"/>
                </a:cubicBezTo>
                <a:cubicBezTo>
                  <a:pt x="1385749" y="1045685"/>
                  <a:pt x="1425435" y="978339"/>
                  <a:pt x="1451985" y="988330"/>
                </a:cubicBezTo>
                <a:cubicBezTo>
                  <a:pt x="1425065" y="1041060"/>
                  <a:pt x="1510821" y="1055584"/>
                  <a:pt x="1516556" y="989070"/>
                </a:cubicBezTo>
                <a:cubicBezTo>
                  <a:pt x="1518591" y="965295"/>
                  <a:pt x="1501477" y="944388"/>
                  <a:pt x="1475482" y="937080"/>
                </a:cubicBezTo>
                <a:cubicBezTo>
                  <a:pt x="1482235" y="910900"/>
                  <a:pt x="1472615" y="885645"/>
                  <a:pt x="1450967" y="875469"/>
                </a:cubicBezTo>
                <a:cubicBezTo>
                  <a:pt x="1390467" y="847161"/>
                  <a:pt x="1360216" y="928661"/>
                  <a:pt x="1419329" y="931714"/>
                </a:cubicBezTo>
                <a:cubicBezTo>
                  <a:pt x="1414704" y="959652"/>
                  <a:pt x="1336534" y="960392"/>
                  <a:pt x="1359198" y="901001"/>
                </a:cubicBezTo>
                <a:cubicBezTo>
                  <a:pt x="1393797" y="809787"/>
                  <a:pt x="1449950" y="864183"/>
                  <a:pt x="1567621" y="883795"/>
                </a:cubicBezTo>
                <a:close/>
                <a:moveTo>
                  <a:pt x="1154476" y="772229"/>
                </a:moveTo>
                <a:cubicBezTo>
                  <a:pt x="1156696" y="767603"/>
                  <a:pt x="1159749" y="763348"/>
                  <a:pt x="1163449" y="759277"/>
                </a:cubicBezTo>
                <a:cubicBezTo>
                  <a:pt x="1165947" y="756595"/>
                  <a:pt x="1168722" y="753912"/>
                  <a:pt x="1171775" y="751414"/>
                </a:cubicBezTo>
                <a:cubicBezTo>
                  <a:pt x="1197770" y="729675"/>
                  <a:pt x="1244025" y="712005"/>
                  <a:pt x="1295552" y="675187"/>
                </a:cubicBezTo>
                <a:cubicBezTo>
                  <a:pt x="1295552" y="675187"/>
                  <a:pt x="1295552" y="675187"/>
                  <a:pt x="1295552" y="675187"/>
                </a:cubicBezTo>
                <a:lnTo>
                  <a:pt x="1295552" y="675187"/>
                </a:lnTo>
                <a:cubicBezTo>
                  <a:pt x="1298605" y="681940"/>
                  <a:pt x="1301750" y="688508"/>
                  <a:pt x="1304988" y="694799"/>
                </a:cubicBezTo>
                <a:cubicBezTo>
                  <a:pt x="1307116" y="698869"/>
                  <a:pt x="1309151" y="702847"/>
                  <a:pt x="1311279" y="706732"/>
                </a:cubicBezTo>
                <a:cubicBezTo>
                  <a:pt x="1318032" y="719221"/>
                  <a:pt x="1324693" y="730692"/>
                  <a:pt x="1331076" y="741331"/>
                </a:cubicBezTo>
                <a:cubicBezTo>
                  <a:pt x="1335794" y="749194"/>
                  <a:pt x="1340234" y="756595"/>
                  <a:pt x="1344397" y="763533"/>
                </a:cubicBezTo>
                <a:cubicBezTo>
                  <a:pt x="1350318" y="773524"/>
                  <a:pt x="1355591" y="782775"/>
                  <a:pt x="1359753" y="791471"/>
                </a:cubicBezTo>
                <a:cubicBezTo>
                  <a:pt x="1361881" y="795911"/>
                  <a:pt x="1363639" y="800166"/>
                  <a:pt x="1365119" y="804422"/>
                </a:cubicBezTo>
                <a:cubicBezTo>
                  <a:pt x="1366137" y="807290"/>
                  <a:pt x="1366969" y="810157"/>
                  <a:pt x="1367617" y="812933"/>
                </a:cubicBezTo>
                <a:cubicBezTo>
                  <a:pt x="1368172" y="815060"/>
                  <a:pt x="1368542" y="817281"/>
                  <a:pt x="1368819" y="819408"/>
                </a:cubicBezTo>
                <a:cubicBezTo>
                  <a:pt x="1369282" y="822924"/>
                  <a:pt x="1369467" y="826439"/>
                  <a:pt x="1369189" y="829862"/>
                </a:cubicBezTo>
                <a:cubicBezTo>
                  <a:pt x="1369097" y="831620"/>
                  <a:pt x="1368819" y="833285"/>
                  <a:pt x="1368542" y="834950"/>
                </a:cubicBezTo>
                <a:cubicBezTo>
                  <a:pt x="1367894" y="838373"/>
                  <a:pt x="1366877" y="841703"/>
                  <a:pt x="1365489" y="845033"/>
                </a:cubicBezTo>
                <a:cubicBezTo>
                  <a:pt x="1360494" y="856782"/>
                  <a:pt x="1350133" y="868438"/>
                  <a:pt x="1332833" y="881019"/>
                </a:cubicBezTo>
                <a:cubicBezTo>
                  <a:pt x="1281306" y="918300"/>
                  <a:pt x="1261786" y="842628"/>
                  <a:pt x="1287597" y="830879"/>
                </a:cubicBezTo>
                <a:cubicBezTo>
                  <a:pt x="1305821" y="887217"/>
                  <a:pt x="1376775" y="836892"/>
                  <a:pt x="1333758" y="785827"/>
                </a:cubicBezTo>
                <a:cubicBezTo>
                  <a:pt x="1328023" y="778982"/>
                  <a:pt x="1320622" y="774264"/>
                  <a:pt x="1312389" y="771859"/>
                </a:cubicBezTo>
                <a:cubicBezTo>
                  <a:pt x="1306931" y="770194"/>
                  <a:pt x="1301103" y="769546"/>
                  <a:pt x="1295090" y="769916"/>
                </a:cubicBezTo>
                <a:cubicBezTo>
                  <a:pt x="1286116" y="770378"/>
                  <a:pt x="1276773" y="773154"/>
                  <a:pt x="1267985" y="778149"/>
                </a:cubicBezTo>
                <a:cubicBezTo>
                  <a:pt x="1267985" y="778149"/>
                  <a:pt x="1267985" y="778149"/>
                  <a:pt x="1267985" y="778149"/>
                </a:cubicBezTo>
                <a:cubicBezTo>
                  <a:pt x="1267985" y="778149"/>
                  <a:pt x="1267985" y="778149"/>
                  <a:pt x="1267985" y="778149"/>
                </a:cubicBezTo>
                <a:cubicBezTo>
                  <a:pt x="1259381" y="763625"/>
                  <a:pt x="1246523" y="753819"/>
                  <a:pt x="1232646" y="750489"/>
                </a:cubicBezTo>
                <a:cubicBezTo>
                  <a:pt x="1224320" y="748546"/>
                  <a:pt x="1215532" y="748824"/>
                  <a:pt x="1207114" y="751877"/>
                </a:cubicBezTo>
                <a:cubicBezTo>
                  <a:pt x="1144300" y="774634"/>
                  <a:pt x="1180564" y="853729"/>
                  <a:pt x="1224598" y="814043"/>
                </a:cubicBezTo>
                <a:cubicBezTo>
                  <a:pt x="1241064" y="837078"/>
                  <a:pt x="1186299" y="892860"/>
                  <a:pt x="1160304" y="834857"/>
                </a:cubicBezTo>
                <a:cubicBezTo>
                  <a:pt x="1156604" y="826531"/>
                  <a:pt x="1153828" y="818946"/>
                  <a:pt x="1152071" y="812008"/>
                </a:cubicBezTo>
                <a:cubicBezTo>
                  <a:pt x="1150868" y="807382"/>
                  <a:pt x="1150128" y="803034"/>
                  <a:pt x="1149851" y="798964"/>
                </a:cubicBezTo>
                <a:cubicBezTo>
                  <a:pt x="1149018" y="788603"/>
                  <a:pt x="1150683" y="779907"/>
                  <a:pt x="1154476" y="772229"/>
                </a:cubicBezTo>
                <a:close/>
                <a:moveTo>
                  <a:pt x="1153828" y="911177"/>
                </a:moveTo>
                <a:cubicBezTo>
                  <a:pt x="1185374" y="925979"/>
                  <a:pt x="1213404" y="919503"/>
                  <a:pt x="1232554" y="910437"/>
                </a:cubicBezTo>
                <a:cubicBezTo>
                  <a:pt x="1244672" y="927829"/>
                  <a:pt x="1265672" y="947441"/>
                  <a:pt x="1300363" y="950401"/>
                </a:cubicBezTo>
                <a:cubicBezTo>
                  <a:pt x="1312204" y="983149"/>
                  <a:pt x="1336626" y="998413"/>
                  <a:pt x="1356516" y="1005536"/>
                </a:cubicBezTo>
                <a:cubicBezTo>
                  <a:pt x="1352815" y="1026351"/>
                  <a:pt x="1353740" y="1055121"/>
                  <a:pt x="1376220" y="1081764"/>
                </a:cubicBezTo>
                <a:cubicBezTo>
                  <a:pt x="1361419" y="1113309"/>
                  <a:pt x="1367894" y="1141340"/>
                  <a:pt x="1376960" y="1160489"/>
                </a:cubicBezTo>
                <a:cubicBezTo>
                  <a:pt x="1359569" y="1172608"/>
                  <a:pt x="1339957" y="1193607"/>
                  <a:pt x="1336996" y="1228298"/>
                </a:cubicBezTo>
                <a:cubicBezTo>
                  <a:pt x="1304248" y="1240139"/>
                  <a:pt x="1288984" y="1264562"/>
                  <a:pt x="1281861" y="1284451"/>
                </a:cubicBezTo>
                <a:cubicBezTo>
                  <a:pt x="1261046" y="1280751"/>
                  <a:pt x="1232276" y="1281676"/>
                  <a:pt x="1205634" y="1304155"/>
                </a:cubicBezTo>
                <a:cubicBezTo>
                  <a:pt x="1174088" y="1289354"/>
                  <a:pt x="1146058" y="1295830"/>
                  <a:pt x="1126908" y="1304895"/>
                </a:cubicBezTo>
                <a:cubicBezTo>
                  <a:pt x="1114790" y="1287504"/>
                  <a:pt x="1093790" y="1267892"/>
                  <a:pt x="1059099" y="1264932"/>
                </a:cubicBezTo>
                <a:cubicBezTo>
                  <a:pt x="1047258" y="1232183"/>
                  <a:pt x="1022836" y="1216919"/>
                  <a:pt x="1002946" y="1209796"/>
                </a:cubicBezTo>
                <a:cubicBezTo>
                  <a:pt x="1006647" y="1188982"/>
                  <a:pt x="1005722" y="1160211"/>
                  <a:pt x="983242" y="1133569"/>
                </a:cubicBezTo>
                <a:cubicBezTo>
                  <a:pt x="998043" y="1102023"/>
                  <a:pt x="991568" y="1073993"/>
                  <a:pt x="982502" y="1054844"/>
                </a:cubicBezTo>
                <a:cubicBezTo>
                  <a:pt x="999893" y="1042725"/>
                  <a:pt x="1019505" y="1021725"/>
                  <a:pt x="1022466" y="987035"/>
                </a:cubicBezTo>
                <a:cubicBezTo>
                  <a:pt x="1055214" y="975193"/>
                  <a:pt x="1070478" y="950771"/>
                  <a:pt x="1077601" y="930882"/>
                </a:cubicBezTo>
                <a:cubicBezTo>
                  <a:pt x="1098416" y="934675"/>
                  <a:pt x="1127186" y="933657"/>
                  <a:pt x="1153828" y="911177"/>
                </a:cubicBezTo>
                <a:close/>
                <a:moveTo>
                  <a:pt x="955767" y="719869"/>
                </a:moveTo>
                <a:cubicBezTo>
                  <a:pt x="1067518" y="761683"/>
                  <a:pt x="1143282" y="742718"/>
                  <a:pt x="1127741" y="839020"/>
                </a:cubicBezTo>
                <a:cubicBezTo>
                  <a:pt x="1117657" y="901741"/>
                  <a:pt x="1050311" y="862055"/>
                  <a:pt x="1060302" y="835597"/>
                </a:cubicBezTo>
                <a:cubicBezTo>
                  <a:pt x="1113032" y="862517"/>
                  <a:pt x="1127556" y="776762"/>
                  <a:pt x="1061042" y="771026"/>
                </a:cubicBezTo>
                <a:cubicBezTo>
                  <a:pt x="1037267" y="768991"/>
                  <a:pt x="1016360" y="786013"/>
                  <a:pt x="1009052" y="812100"/>
                </a:cubicBezTo>
                <a:cubicBezTo>
                  <a:pt x="982872" y="805347"/>
                  <a:pt x="957617" y="814968"/>
                  <a:pt x="947441" y="836615"/>
                </a:cubicBezTo>
                <a:cubicBezTo>
                  <a:pt x="919133" y="897116"/>
                  <a:pt x="1000634" y="927366"/>
                  <a:pt x="1003686" y="868253"/>
                </a:cubicBezTo>
                <a:cubicBezTo>
                  <a:pt x="1031624" y="872878"/>
                  <a:pt x="1032364" y="951049"/>
                  <a:pt x="972973" y="928384"/>
                </a:cubicBezTo>
                <a:cubicBezTo>
                  <a:pt x="881759" y="893693"/>
                  <a:pt x="936155" y="837540"/>
                  <a:pt x="955767" y="719869"/>
                </a:cubicBezTo>
                <a:close/>
                <a:moveTo>
                  <a:pt x="890825" y="665381"/>
                </a:moveTo>
                <a:cubicBezTo>
                  <a:pt x="778334" y="705160"/>
                  <a:pt x="732542" y="768436"/>
                  <a:pt x="682495" y="684623"/>
                </a:cubicBezTo>
                <a:cubicBezTo>
                  <a:pt x="649932" y="630042"/>
                  <a:pt x="726992" y="617184"/>
                  <a:pt x="736428" y="643919"/>
                </a:cubicBezTo>
                <a:cubicBezTo>
                  <a:pt x="678702" y="657148"/>
                  <a:pt x="722737" y="732265"/>
                  <a:pt x="777317" y="693874"/>
                </a:cubicBezTo>
                <a:cubicBezTo>
                  <a:pt x="796836" y="680090"/>
                  <a:pt x="801924" y="653632"/>
                  <a:pt x="790731" y="628932"/>
                </a:cubicBezTo>
                <a:cubicBezTo>
                  <a:pt x="815153" y="617276"/>
                  <a:pt x="828289" y="593686"/>
                  <a:pt x="822184" y="570559"/>
                </a:cubicBezTo>
                <a:cubicBezTo>
                  <a:pt x="805070" y="506080"/>
                  <a:pt x="723107" y="535221"/>
                  <a:pt x="758723" y="582493"/>
                </a:cubicBezTo>
                <a:cubicBezTo>
                  <a:pt x="734300" y="596832"/>
                  <a:pt x="683513" y="537533"/>
                  <a:pt x="743551" y="516626"/>
                </a:cubicBezTo>
                <a:cubicBezTo>
                  <a:pt x="835783" y="484711"/>
                  <a:pt x="830232" y="562603"/>
                  <a:pt x="890825" y="665381"/>
                </a:cubicBezTo>
                <a:close/>
                <a:moveTo>
                  <a:pt x="696371" y="283504"/>
                </a:moveTo>
                <a:cubicBezTo>
                  <a:pt x="699424" y="281468"/>
                  <a:pt x="702570" y="279896"/>
                  <a:pt x="705807" y="278693"/>
                </a:cubicBezTo>
                <a:cubicBezTo>
                  <a:pt x="713856" y="275733"/>
                  <a:pt x="722551" y="275085"/>
                  <a:pt x="732080" y="276195"/>
                </a:cubicBezTo>
                <a:cubicBezTo>
                  <a:pt x="735873" y="276658"/>
                  <a:pt x="739758" y="277306"/>
                  <a:pt x="743829" y="278323"/>
                </a:cubicBezTo>
                <a:cubicBezTo>
                  <a:pt x="745864" y="278786"/>
                  <a:pt x="747899" y="279341"/>
                  <a:pt x="750027" y="279896"/>
                </a:cubicBezTo>
                <a:cubicBezTo>
                  <a:pt x="757242" y="281838"/>
                  <a:pt x="764921" y="284521"/>
                  <a:pt x="773061" y="287482"/>
                </a:cubicBezTo>
                <a:cubicBezTo>
                  <a:pt x="778334" y="289424"/>
                  <a:pt x="783792" y="291459"/>
                  <a:pt x="789435" y="293680"/>
                </a:cubicBezTo>
                <a:cubicBezTo>
                  <a:pt x="791008" y="294235"/>
                  <a:pt x="792581" y="294882"/>
                  <a:pt x="794153" y="295530"/>
                </a:cubicBezTo>
                <a:cubicBezTo>
                  <a:pt x="798224" y="297102"/>
                  <a:pt x="802387" y="298675"/>
                  <a:pt x="806642" y="300340"/>
                </a:cubicBezTo>
                <a:cubicBezTo>
                  <a:pt x="809140" y="301265"/>
                  <a:pt x="811730" y="302283"/>
                  <a:pt x="814320" y="303208"/>
                </a:cubicBezTo>
                <a:cubicBezTo>
                  <a:pt x="823941" y="306816"/>
                  <a:pt x="834117" y="310424"/>
                  <a:pt x="844941" y="313939"/>
                </a:cubicBezTo>
                <a:cubicBezTo>
                  <a:pt x="854654" y="317084"/>
                  <a:pt x="864923" y="320137"/>
                  <a:pt x="875746" y="322912"/>
                </a:cubicBezTo>
                <a:lnTo>
                  <a:pt x="875746" y="322912"/>
                </a:lnTo>
                <a:cubicBezTo>
                  <a:pt x="875746" y="322912"/>
                  <a:pt x="875746" y="322912"/>
                  <a:pt x="875746" y="322912"/>
                </a:cubicBezTo>
                <a:cubicBezTo>
                  <a:pt x="846791" y="383506"/>
                  <a:pt x="838095" y="434386"/>
                  <a:pt x="819131" y="463064"/>
                </a:cubicBezTo>
                <a:cubicBezTo>
                  <a:pt x="815986" y="467874"/>
                  <a:pt x="812563" y="472037"/>
                  <a:pt x="808677" y="475552"/>
                </a:cubicBezTo>
                <a:cubicBezTo>
                  <a:pt x="806087" y="477865"/>
                  <a:pt x="803312" y="479900"/>
                  <a:pt x="800352" y="481658"/>
                </a:cubicBezTo>
                <a:cubicBezTo>
                  <a:pt x="786845" y="489336"/>
                  <a:pt x="768713" y="490631"/>
                  <a:pt x="742071" y="483971"/>
                </a:cubicBezTo>
                <a:cubicBezTo>
                  <a:pt x="680460" y="468429"/>
                  <a:pt x="725882" y="404875"/>
                  <a:pt x="751414" y="417087"/>
                </a:cubicBezTo>
                <a:cubicBezTo>
                  <a:pt x="719961" y="467319"/>
                  <a:pt x="804144" y="489244"/>
                  <a:pt x="815616" y="423470"/>
                </a:cubicBezTo>
                <a:cubicBezTo>
                  <a:pt x="817188" y="414681"/>
                  <a:pt x="815986" y="405986"/>
                  <a:pt x="812563" y="398122"/>
                </a:cubicBezTo>
                <a:cubicBezTo>
                  <a:pt x="806920" y="384986"/>
                  <a:pt x="794986" y="374070"/>
                  <a:pt x="779167" y="368057"/>
                </a:cubicBezTo>
                <a:cubicBezTo>
                  <a:pt x="779167" y="368057"/>
                  <a:pt x="779167" y="368057"/>
                  <a:pt x="779167" y="368057"/>
                </a:cubicBezTo>
                <a:cubicBezTo>
                  <a:pt x="779167" y="368057"/>
                  <a:pt x="779167" y="368057"/>
                  <a:pt x="779167" y="368057"/>
                </a:cubicBezTo>
                <a:cubicBezTo>
                  <a:pt x="781387" y="361674"/>
                  <a:pt x="782682" y="355291"/>
                  <a:pt x="782867" y="349093"/>
                </a:cubicBezTo>
                <a:cubicBezTo>
                  <a:pt x="782867" y="348537"/>
                  <a:pt x="782775" y="347982"/>
                  <a:pt x="782775" y="347520"/>
                </a:cubicBezTo>
                <a:cubicBezTo>
                  <a:pt x="782867" y="342987"/>
                  <a:pt x="782312" y="338547"/>
                  <a:pt x="781295" y="334291"/>
                </a:cubicBezTo>
                <a:cubicBezTo>
                  <a:pt x="779722" y="327538"/>
                  <a:pt x="777039" y="321340"/>
                  <a:pt x="772969" y="315974"/>
                </a:cubicBezTo>
                <a:cubicBezTo>
                  <a:pt x="769546" y="311441"/>
                  <a:pt x="765198" y="307556"/>
                  <a:pt x="760018" y="304596"/>
                </a:cubicBezTo>
                <a:cubicBezTo>
                  <a:pt x="702292" y="271107"/>
                  <a:pt x="665011" y="349740"/>
                  <a:pt x="723662" y="357881"/>
                </a:cubicBezTo>
                <a:cubicBezTo>
                  <a:pt x="716538" y="385264"/>
                  <a:pt x="638646" y="379250"/>
                  <a:pt x="666398" y="321987"/>
                </a:cubicBezTo>
                <a:cubicBezTo>
                  <a:pt x="676019" y="302653"/>
                  <a:pt x="685733" y="290442"/>
                  <a:pt x="696371" y="283504"/>
                </a:cubicBezTo>
                <a:close/>
                <a:moveTo>
                  <a:pt x="623197" y="91270"/>
                </a:moveTo>
                <a:cubicBezTo>
                  <a:pt x="662976" y="203761"/>
                  <a:pt x="726252" y="249553"/>
                  <a:pt x="642439" y="299600"/>
                </a:cubicBezTo>
                <a:cubicBezTo>
                  <a:pt x="587858" y="332163"/>
                  <a:pt x="575000" y="255103"/>
                  <a:pt x="601735" y="245667"/>
                </a:cubicBezTo>
                <a:cubicBezTo>
                  <a:pt x="614963" y="303393"/>
                  <a:pt x="690081" y="259359"/>
                  <a:pt x="651690" y="204778"/>
                </a:cubicBezTo>
                <a:cubicBezTo>
                  <a:pt x="637906" y="185259"/>
                  <a:pt x="611448" y="180171"/>
                  <a:pt x="586748" y="191365"/>
                </a:cubicBezTo>
                <a:cubicBezTo>
                  <a:pt x="575092" y="166942"/>
                  <a:pt x="551502" y="153806"/>
                  <a:pt x="528375" y="159912"/>
                </a:cubicBezTo>
                <a:cubicBezTo>
                  <a:pt x="463804" y="177026"/>
                  <a:pt x="493037" y="258989"/>
                  <a:pt x="540309" y="223373"/>
                </a:cubicBezTo>
                <a:cubicBezTo>
                  <a:pt x="554648" y="247795"/>
                  <a:pt x="495349" y="298583"/>
                  <a:pt x="474442" y="238544"/>
                </a:cubicBezTo>
                <a:cubicBezTo>
                  <a:pt x="442434" y="146313"/>
                  <a:pt x="520419" y="151956"/>
                  <a:pt x="623197" y="91270"/>
                </a:cubicBezTo>
                <a:close/>
                <a:moveTo>
                  <a:pt x="236047" y="238267"/>
                </a:moveTo>
                <a:cubicBezTo>
                  <a:pt x="243540" y="205704"/>
                  <a:pt x="265742" y="164075"/>
                  <a:pt x="280636" y="106256"/>
                </a:cubicBezTo>
                <a:cubicBezTo>
                  <a:pt x="319767" y="124943"/>
                  <a:pt x="354828" y="135212"/>
                  <a:pt x="382581" y="145295"/>
                </a:cubicBezTo>
                <a:cubicBezTo>
                  <a:pt x="384339" y="145943"/>
                  <a:pt x="386096" y="146590"/>
                  <a:pt x="387761" y="147238"/>
                </a:cubicBezTo>
                <a:cubicBezTo>
                  <a:pt x="392757" y="149088"/>
                  <a:pt x="397475" y="151031"/>
                  <a:pt x="402008" y="152973"/>
                </a:cubicBezTo>
                <a:cubicBezTo>
                  <a:pt x="404968" y="154269"/>
                  <a:pt x="407836" y="155564"/>
                  <a:pt x="410426" y="156951"/>
                </a:cubicBezTo>
                <a:cubicBezTo>
                  <a:pt x="413386" y="158524"/>
                  <a:pt x="416254" y="160097"/>
                  <a:pt x="418844" y="161762"/>
                </a:cubicBezTo>
                <a:cubicBezTo>
                  <a:pt x="421157" y="163149"/>
                  <a:pt x="423285" y="164630"/>
                  <a:pt x="425320" y="166202"/>
                </a:cubicBezTo>
                <a:cubicBezTo>
                  <a:pt x="428188" y="168422"/>
                  <a:pt x="430871" y="170828"/>
                  <a:pt x="433183" y="173418"/>
                </a:cubicBezTo>
                <a:cubicBezTo>
                  <a:pt x="435496" y="176008"/>
                  <a:pt x="437531" y="178783"/>
                  <a:pt x="439289" y="181744"/>
                </a:cubicBezTo>
                <a:cubicBezTo>
                  <a:pt x="446967" y="195250"/>
                  <a:pt x="448262" y="213382"/>
                  <a:pt x="441602" y="240024"/>
                </a:cubicBezTo>
                <a:cubicBezTo>
                  <a:pt x="426060" y="301635"/>
                  <a:pt x="362506" y="256214"/>
                  <a:pt x="374718" y="230681"/>
                </a:cubicBezTo>
                <a:cubicBezTo>
                  <a:pt x="424950" y="262134"/>
                  <a:pt x="446875" y="177951"/>
                  <a:pt x="381101" y="166480"/>
                </a:cubicBezTo>
                <a:cubicBezTo>
                  <a:pt x="378140" y="165925"/>
                  <a:pt x="375273" y="165740"/>
                  <a:pt x="372312" y="165832"/>
                </a:cubicBezTo>
                <a:cubicBezTo>
                  <a:pt x="361951" y="166110"/>
                  <a:pt x="352238" y="170180"/>
                  <a:pt x="344005" y="176933"/>
                </a:cubicBezTo>
                <a:cubicBezTo>
                  <a:pt x="343080" y="177673"/>
                  <a:pt x="342062" y="178321"/>
                  <a:pt x="341137" y="179246"/>
                </a:cubicBezTo>
                <a:cubicBezTo>
                  <a:pt x="334569" y="185444"/>
                  <a:pt x="329203" y="193492"/>
                  <a:pt x="325595" y="202928"/>
                </a:cubicBezTo>
                <a:cubicBezTo>
                  <a:pt x="325595" y="202928"/>
                  <a:pt x="325595" y="202928"/>
                  <a:pt x="325595" y="202928"/>
                </a:cubicBezTo>
                <a:cubicBezTo>
                  <a:pt x="325595" y="202928"/>
                  <a:pt x="325595" y="202928"/>
                  <a:pt x="325595" y="202928"/>
                </a:cubicBezTo>
                <a:cubicBezTo>
                  <a:pt x="303301" y="195065"/>
                  <a:pt x="280543" y="199691"/>
                  <a:pt x="267222" y="214862"/>
                </a:cubicBezTo>
                <a:cubicBezTo>
                  <a:pt x="265279" y="216990"/>
                  <a:pt x="263614" y="219395"/>
                  <a:pt x="262134" y="221985"/>
                </a:cubicBezTo>
                <a:cubicBezTo>
                  <a:pt x="228646" y="279711"/>
                  <a:pt x="307279" y="316992"/>
                  <a:pt x="315419" y="258341"/>
                </a:cubicBezTo>
                <a:cubicBezTo>
                  <a:pt x="342802" y="265464"/>
                  <a:pt x="336789" y="343357"/>
                  <a:pt x="279526" y="315604"/>
                </a:cubicBezTo>
                <a:cubicBezTo>
                  <a:pt x="249368" y="300988"/>
                  <a:pt x="236509" y="285354"/>
                  <a:pt x="233919" y="266389"/>
                </a:cubicBezTo>
                <a:cubicBezTo>
                  <a:pt x="232809" y="257694"/>
                  <a:pt x="233734" y="248443"/>
                  <a:pt x="236047" y="238267"/>
                </a:cubicBezTo>
                <a:close/>
                <a:moveTo>
                  <a:pt x="49086" y="358991"/>
                </a:moveTo>
                <a:cubicBezTo>
                  <a:pt x="161577" y="319212"/>
                  <a:pt x="207369" y="255936"/>
                  <a:pt x="257416" y="339749"/>
                </a:cubicBezTo>
                <a:cubicBezTo>
                  <a:pt x="289979" y="394329"/>
                  <a:pt x="212919" y="407188"/>
                  <a:pt x="203483" y="380453"/>
                </a:cubicBezTo>
                <a:cubicBezTo>
                  <a:pt x="261209" y="367224"/>
                  <a:pt x="217175" y="292107"/>
                  <a:pt x="162594" y="330498"/>
                </a:cubicBezTo>
                <a:cubicBezTo>
                  <a:pt x="143075" y="344282"/>
                  <a:pt x="137987" y="370740"/>
                  <a:pt x="149181" y="395440"/>
                </a:cubicBezTo>
                <a:cubicBezTo>
                  <a:pt x="124758" y="407096"/>
                  <a:pt x="111622" y="430685"/>
                  <a:pt x="117728" y="453813"/>
                </a:cubicBezTo>
                <a:cubicBezTo>
                  <a:pt x="134842" y="518384"/>
                  <a:pt x="216805" y="489151"/>
                  <a:pt x="181189" y="441879"/>
                </a:cubicBezTo>
                <a:cubicBezTo>
                  <a:pt x="205611" y="427540"/>
                  <a:pt x="256399" y="486838"/>
                  <a:pt x="196360" y="507745"/>
                </a:cubicBezTo>
                <a:cubicBezTo>
                  <a:pt x="104129" y="539661"/>
                  <a:pt x="109679" y="461769"/>
                  <a:pt x="49086" y="358991"/>
                </a:cubicBezTo>
                <a:close/>
                <a:moveTo>
                  <a:pt x="207831" y="748176"/>
                </a:moveTo>
                <a:cubicBezTo>
                  <a:pt x="204038" y="747714"/>
                  <a:pt x="200153" y="747066"/>
                  <a:pt x="196083" y="746049"/>
                </a:cubicBezTo>
                <a:cubicBezTo>
                  <a:pt x="192567" y="745216"/>
                  <a:pt x="189052" y="744291"/>
                  <a:pt x="185352" y="743181"/>
                </a:cubicBezTo>
                <a:cubicBezTo>
                  <a:pt x="184057" y="742811"/>
                  <a:pt x="182669" y="742348"/>
                  <a:pt x="181281" y="741886"/>
                </a:cubicBezTo>
                <a:cubicBezTo>
                  <a:pt x="178691" y="741053"/>
                  <a:pt x="176101" y="740221"/>
                  <a:pt x="173418" y="739295"/>
                </a:cubicBezTo>
                <a:cubicBezTo>
                  <a:pt x="162132" y="735318"/>
                  <a:pt x="149828" y="730507"/>
                  <a:pt x="136322" y="725327"/>
                </a:cubicBezTo>
                <a:cubicBezTo>
                  <a:pt x="132807" y="723939"/>
                  <a:pt x="129199" y="722644"/>
                  <a:pt x="125498" y="721256"/>
                </a:cubicBezTo>
                <a:cubicBezTo>
                  <a:pt x="107274" y="714410"/>
                  <a:pt x="86922" y="707380"/>
                  <a:pt x="64072" y="701459"/>
                </a:cubicBezTo>
                <a:cubicBezTo>
                  <a:pt x="93028" y="640866"/>
                  <a:pt x="101724" y="589986"/>
                  <a:pt x="120688" y="561308"/>
                </a:cubicBezTo>
                <a:cubicBezTo>
                  <a:pt x="122816" y="558163"/>
                  <a:pt x="125036" y="555203"/>
                  <a:pt x="127441" y="552612"/>
                </a:cubicBezTo>
                <a:cubicBezTo>
                  <a:pt x="129846" y="550022"/>
                  <a:pt x="132436" y="547617"/>
                  <a:pt x="135212" y="545674"/>
                </a:cubicBezTo>
                <a:cubicBezTo>
                  <a:pt x="139375" y="542621"/>
                  <a:pt x="144000" y="540309"/>
                  <a:pt x="149273" y="538736"/>
                </a:cubicBezTo>
                <a:cubicBezTo>
                  <a:pt x="161484" y="535036"/>
                  <a:pt x="177118" y="535406"/>
                  <a:pt x="197748" y="540586"/>
                </a:cubicBezTo>
                <a:cubicBezTo>
                  <a:pt x="259359" y="556128"/>
                  <a:pt x="213937" y="619681"/>
                  <a:pt x="188404" y="607470"/>
                </a:cubicBezTo>
                <a:cubicBezTo>
                  <a:pt x="219858" y="557238"/>
                  <a:pt x="135674" y="535313"/>
                  <a:pt x="124203" y="601087"/>
                </a:cubicBezTo>
                <a:cubicBezTo>
                  <a:pt x="123186" y="607008"/>
                  <a:pt x="123371" y="612743"/>
                  <a:pt x="124573" y="618294"/>
                </a:cubicBezTo>
                <a:cubicBezTo>
                  <a:pt x="128274" y="634945"/>
                  <a:pt x="141595" y="649284"/>
                  <a:pt x="160559" y="656407"/>
                </a:cubicBezTo>
                <a:cubicBezTo>
                  <a:pt x="160559" y="656407"/>
                  <a:pt x="160559" y="656407"/>
                  <a:pt x="160559" y="656407"/>
                </a:cubicBezTo>
                <a:cubicBezTo>
                  <a:pt x="160559" y="656407"/>
                  <a:pt x="160559" y="656407"/>
                  <a:pt x="160559" y="656407"/>
                </a:cubicBezTo>
                <a:cubicBezTo>
                  <a:pt x="158339" y="662791"/>
                  <a:pt x="157044" y="669174"/>
                  <a:pt x="156859" y="675372"/>
                </a:cubicBezTo>
                <a:cubicBezTo>
                  <a:pt x="156396" y="687768"/>
                  <a:pt x="159727" y="699424"/>
                  <a:pt x="166665" y="708490"/>
                </a:cubicBezTo>
                <a:cubicBezTo>
                  <a:pt x="170088" y="713023"/>
                  <a:pt x="174436" y="716908"/>
                  <a:pt x="179616" y="719869"/>
                </a:cubicBezTo>
                <a:cubicBezTo>
                  <a:pt x="237342" y="753357"/>
                  <a:pt x="274623" y="674724"/>
                  <a:pt x="215972" y="666583"/>
                </a:cubicBezTo>
                <a:cubicBezTo>
                  <a:pt x="223095" y="639201"/>
                  <a:pt x="300988" y="645214"/>
                  <a:pt x="273235" y="702477"/>
                </a:cubicBezTo>
                <a:cubicBezTo>
                  <a:pt x="254641" y="740961"/>
                  <a:pt x="234381" y="751229"/>
                  <a:pt x="207831" y="748176"/>
                </a:cubicBezTo>
                <a:close/>
                <a:moveTo>
                  <a:pt x="316807" y="933102"/>
                </a:moveTo>
                <a:cubicBezTo>
                  <a:pt x="277028" y="820611"/>
                  <a:pt x="213752" y="774819"/>
                  <a:pt x="297565" y="724772"/>
                </a:cubicBezTo>
                <a:cubicBezTo>
                  <a:pt x="352145" y="692208"/>
                  <a:pt x="365004" y="769268"/>
                  <a:pt x="338269" y="778704"/>
                </a:cubicBezTo>
                <a:cubicBezTo>
                  <a:pt x="325040" y="720979"/>
                  <a:pt x="249923" y="765013"/>
                  <a:pt x="288314" y="819593"/>
                </a:cubicBezTo>
                <a:cubicBezTo>
                  <a:pt x="302098" y="839113"/>
                  <a:pt x="328556" y="844201"/>
                  <a:pt x="353255" y="833007"/>
                </a:cubicBezTo>
                <a:cubicBezTo>
                  <a:pt x="364912" y="857429"/>
                  <a:pt x="388501" y="870566"/>
                  <a:pt x="411629" y="864460"/>
                </a:cubicBezTo>
                <a:cubicBezTo>
                  <a:pt x="476200" y="847346"/>
                  <a:pt x="446967" y="765383"/>
                  <a:pt x="399695" y="800999"/>
                </a:cubicBezTo>
                <a:cubicBezTo>
                  <a:pt x="385356" y="776577"/>
                  <a:pt x="444654" y="725789"/>
                  <a:pt x="465561" y="785827"/>
                </a:cubicBezTo>
                <a:cubicBezTo>
                  <a:pt x="497477" y="878059"/>
                  <a:pt x="419492" y="872416"/>
                  <a:pt x="316807" y="933102"/>
                </a:cubicBezTo>
                <a:close/>
                <a:moveTo>
                  <a:pt x="478605" y="710248"/>
                </a:moveTo>
                <a:cubicBezTo>
                  <a:pt x="448447" y="692763"/>
                  <a:pt x="419954" y="696834"/>
                  <a:pt x="400158" y="704142"/>
                </a:cubicBezTo>
                <a:cubicBezTo>
                  <a:pt x="389612" y="685825"/>
                  <a:pt x="370370" y="664363"/>
                  <a:pt x="336049" y="658443"/>
                </a:cubicBezTo>
                <a:cubicBezTo>
                  <a:pt x="327075" y="624769"/>
                  <a:pt x="304133" y="607470"/>
                  <a:pt x="284891" y="598589"/>
                </a:cubicBezTo>
                <a:cubicBezTo>
                  <a:pt x="290442" y="578145"/>
                  <a:pt x="291922" y="549467"/>
                  <a:pt x="271940" y="520974"/>
                </a:cubicBezTo>
                <a:cubicBezTo>
                  <a:pt x="289424" y="490816"/>
                  <a:pt x="285354" y="462324"/>
                  <a:pt x="278046" y="442527"/>
                </a:cubicBezTo>
                <a:cubicBezTo>
                  <a:pt x="296362" y="431981"/>
                  <a:pt x="317825" y="412739"/>
                  <a:pt x="323745" y="378418"/>
                </a:cubicBezTo>
                <a:cubicBezTo>
                  <a:pt x="357418" y="369445"/>
                  <a:pt x="374718" y="346502"/>
                  <a:pt x="383598" y="327260"/>
                </a:cubicBezTo>
                <a:cubicBezTo>
                  <a:pt x="404043" y="332811"/>
                  <a:pt x="432721" y="334291"/>
                  <a:pt x="461214" y="314309"/>
                </a:cubicBezTo>
                <a:cubicBezTo>
                  <a:pt x="491371" y="331793"/>
                  <a:pt x="519864" y="327723"/>
                  <a:pt x="539661" y="320507"/>
                </a:cubicBezTo>
                <a:cubicBezTo>
                  <a:pt x="550207" y="338824"/>
                  <a:pt x="569449" y="360286"/>
                  <a:pt x="603770" y="366207"/>
                </a:cubicBezTo>
                <a:cubicBezTo>
                  <a:pt x="612743" y="399880"/>
                  <a:pt x="635685" y="417179"/>
                  <a:pt x="654927" y="426060"/>
                </a:cubicBezTo>
                <a:cubicBezTo>
                  <a:pt x="649377" y="446505"/>
                  <a:pt x="647897" y="475182"/>
                  <a:pt x="667879" y="503675"/>
                </a:cubicBezTo>
                <a:cubicBezTo>
                  <a:pt x="650394" y="533833"/>
                  <a:pt x="654465" y="562326"/>
                  <a:pt x="661773" y="582123"/>
                </a:cubicBezTo>
                <a:cubicBezTo>
                  <a:pt x="643364" y="592669"/>
                  <a:pt x="621994" y="611911"/>
                  <a:pt x="616074" y="646231"/>
                </a:cubicBezTo>
                <a:cubicBezTo>
                  <a:pt x="582400" y="655205"/>
                  <a:pt x="565101" y="678147"/>
                  <a:pt x="556220" y="697389"/>
                </a:cubicBezTo>
                <a:cubicBezTo>
                  <a:pt x="535868" y="691746"/>
                  <a:pt x="507098" y="690173"/>
                  <a:pt x="478605" y="710248"/>
                </a:cubicBezTo>
                <a:close/>
                <a:moveTo>
                  <a:pt x="705992" y="774356"/>
                </a:moveTo>
                <a:cubicBezTo>
                  <a:pt x="705530" y="778149"/>
                  <a:pt x="704882" y="782035"/>
                  <a:pt x="703865" y="786105"/>
                </a:cubicBezTo>
                <a:cubicBezTo>
                  <a:pt x="696371" y="818668"/>
                  <a:pt x="674169" y="860297"/>
                  <a:pt x="659275" y="918115"/>
                </a:cubicBezTo>
                <a:cubicBezTo>
                  <a:pt x="659275" y="918115"/>
                  <a:pt x="659275" y="918115"/>
                  <a:pt x="659275" y="918115"/>
                </a:cubicBezTo>
                <a:lnTo>
                  <a:pt x="659275" y="918115"/>
                </a:lnTo>
                <a:cubicBezTo>
                  <a:pt x="656963" y="917005"/>
                  <a:pt x="654650" y="915988"/>
                  <a:pt x="652337" y="914878"/>
                </a:cubicBezTo>
                <a:cubicBezTo>
                  <a:pt x="650487" y="914045"/>
                  <a:pt x="648637" y="913212"/>
                  <a:pt x="646787" y="912380"/>
                </a:cubicBezTo>
                <a:cubicBezTo>
                  <a:pt x="630598" y="905164"/>
                  <a:pt x="615241" y="899336"/>
                  <a:pt x="600902" y="894248"/>
                </a:cubicBezTo>
                <a:cubicBezTo>
                  <a:pt x="588876" y="889993"/>
                  <a:pt x="577590" y="886200"/>
                  <a:pt x="567136" y="882592"/>
                </a:cubicBezTo>
                <a:cubicBezTo>
                  <a:pt x="559643" y="880002"/>
                  <a:pt x="552520" y="877411"/>
                  <a:pt x="545952" y="874821"/>
                </a:cubicBezTo>
                <a:cubicBezTo>
                  <a:pt x="540679" y="872786"/>
                  <a:pt x="535868" y="870566"/>
                  <a:pt x="531243" y="868345"/>
                </a:cubicBezTo>
                <a:cubicBezTo>
                  <a:pt x="529578" y="867513"/>
                  <a:pt x="528005" y="866680"/>
                  <a:pt x="526432" y="865848"/>
                </a:cubicBezTo>
                <a:cubicBezTo>
                  <a:pt x="523842" y="864460"/>
                  <a:pt x="521344" y="862980"/>
                  <a:pt x="518939" y="861407"/>
                </a:cubicBezTo>
                <a:cubicBezTo>
                  <a:pt x="517366" y="860390"/>
                  <a:pt x="515794" y="859280"/>
                  <a:pt x="514406" y="858170"/>
                </a:cubicBezTo>
                <a:cubicBezTo>
                  <a:pt x="510058" y="854839"/>
                  <a:pt x="506265" y="851139"/>
                  <a:pt x="503305" y="846976"/>
                </a:cubicBezTo>
                <a:cubicBezTo>
                  <a:pt x="493222" y="833100"/>
                  <a:pt x="490816" y="813950"/>
                  <a:pt x="498217" y="784440"/>
                </a:cubicBezTo>
                <a:cubicBezTo>
                  <a:pt x="513759" y="722829"/>
                  <a:pt x="577312" y="768251"/>
                  <a:pt x="565101" y="793783"/>
                </a:cubicBezTo>
                <a:cubicBezTo>
                  <a:pt x="514869" y="762330"/>
                  <a:pt x="492944" y="846513"/>
                  <a:pt x="558718" y="857984"/>
                </a:cubicBezTo>
                <a:cubicBezTo>
                  <a:pt x="564639" y="859002"/>
                  <a:pt x="570374" y="858817"/>
                  <a:pt x="575925" y="857615"/>
                </a:cubicBezTo>
                <a:cubicBezTo>
                  <a:pt x="580180" y="856689"/>
                  <a:pt x="584251" y="854932"/>
                  <a:pt x="588136" y="852712"/>
                </a:cubicBezTo>
                <a:cubicBezTo>
                  <a:pt x="591836" y="850676"/>
                  <a:pt x="595352" y="848271"/>
                  <a:pt x="598497" y="845311"/>
                </a:cubicBezTo>
                <a:cubicBezTo>
                  <a:pt x="598867" y="844941"/>
                  <a:pt x="599144" y="844571"/>
                  <a:pt x="599515" y="844201"/>
                </a:cubicBezTo>
                <a:cubicBezTo>
                  <a:pt x="601272" y="842443"/>
                  <a:pt x="603030" y="840593"/>
                  <a:pt x="604695" y="838558"/>
                </a:cubicBezTo>
                <a:cubicBezTo>
                  <a:pt x="608488" y="833655"/>
                  <a:pt x="611633" y="827919"/>
                  <a:pt x="614038" y="821629"/>
                </a:cubicBezTo>
                <a:cubicBezTo>
                  <a:pt x="614038" y="821629"/>
                  <a:pt x="614038" y="821629"/>
                  <a:pt x="614038" y="821629"/>
                </a:cubicBezTo>
                <a:cubicBezTo>
                  <a:pt x="614038" y="821629"/>
                  <a:pt x="614038" y="821629"/>
                  <a:pt x="614038" y="821629"/>
                </a:cubicBezTo>
                <a:cubicBezTo>
                  <a:pt x="633188" y="828382"/>
                  <a:pt x="652615" y="825884"/>
                  <a:pt x="666121" y="815523"/>
                </a:cubicBezTo>
                <a:cubicBezTo>
                  <a:pt x="670654" y="812100"/>
                  <a:pt x="674539" y="807752"/>
                  <a:pt x="677500" y="802572"/>
                </a:cubicBezTo>
                <a:cubicBezTo>
                  <a:pt x="710988" y="744846"/>
                  <a:pt x="632355" y="707472"/>
                  <a:pt x="624214" y="766216"/>
                </a:cubicBezTo>
                <a:cubicBezTo>
                  <a:pt x="596832" y="759092"/>
                  <a:pt x="602845" y="681200"/>
                  <a:pt x="660108" y="708953"/>
                </a:cubicBezTo>
                <a:cubicBezTo>
                  <a:pt x="698684" y="727547"/>
                  <a:pt x="709045" y="747806"/>
                  <a:pt x="705992" y="774356"/>
                </a:cubicBezTo>
                <a:close/>
                <a:moveTo>
                  <a:pt x="740591" y="760110"/>
                </a:moveTo>
                <a:cubicBezTo>
                  <a:pt x="796466" y="764920"/>
                  <a:pt x="851416" y="742348"/>
                  <a:pt x="898226" y="722551"/>
                </a:cubicBezTo>
                <a:cubicBezTo>
                  <a:pt x="886847" y="772044"/>
                  <a:pt x="874174" y="830047"/>
                  <a:pt x="888605" y="884257"/>
                </a:cubicBezTo>
                <a:cubicBezTo>
                  <a:pt x="820704" y="884350"/>
                  <a:pt x="757797" y="924313"/>
                  <a:pt x="707657" y="949661"/>
                </a:cubicBezTo>
                <a:cubicBezTo>
                  <a:pt x="723847" y="895913"/>
                  <a:pt x="752247" y="827087"/>
                  <a:pt x="740591" y="760110"/>
                </a:cubicBezTo>
                <a:close/>
                <a:moveTo>
                  <a:pt x="815801" y="1105631"/>
                </a:moveTo>
                <a:cubicBezTo>
                  <a:pt x="812563" y="1101006"/>
                  <a:pt x="809417" y="1095825"/>
                  <a:pt x="806180" y="1090367"/>
                </a:cubicBezTo>
                <a:cubicBezTo>
                  <a:pt x="803404" y="1085742"/>
                  <a:pt x="800629" y="1080839"/>
                  <a:pt x="797854" y="1075751"/>
                </a:cubicBezTo>
                <a:cubicBezTo>
                  <a:pt x="796004" y="1072328"/>
                  <a:pt x="794061" y="1068905"/>
                  <a:pt x="792026" y="1065297"/>
                </a:cubicBezTo>
                <a:cubicBezTo>
                  <a:pt x="789991" y="1061504"/>
                  <a:pt x="787863" y="1057711"/>
                  <a:pt x="785643" y="1053734"/>
                </a:cubicBezTo>
                <a:cubicBezTo>
                  <a:pt x="781202" y="1045870"/>
                  <a:pt x="776577" y="1037544"/>
                  <a:pt x="771396" y="1029034"/>
                </a:cubicBezTo>
                <a:cubicBezTo>
                  <a:pt x="770564" y="1027646"/>
                  <a:pt x="769731" y="1026351"/>
                  <a:pt x="768898" y="1024963"/>
                </a:cubicBezTo>
                <a:cubicBezTo>
                  <a:pt x="764736" y="1018118"/>
                  <a:pt x="760295" y="1011087"/>
                  <a:pt x="755485" y="1003871"/>
                </a:cubicBezTo>
                <a:cubicBezTo>
                  <a:pt x="754190" y="1001928"/>
                  <a:pt x="752894" y="1000078"/>
                  <a:pt x="751599" y="998136"/>
                </a:cubicBezTo>
                <a:cubicBezTo>
                  <a:pt x="750119" y="996008"/>
                  <a:pt x="748732" y="993973"/>
                  <a:pt x="747159" y="991845"/>
                </a:cubicBezTo>
                <a:lnTo>
                  <a:pt x="747159" y="991845"/>
                </a:lnTo>
                <a:cubicBezTo>
                  <a:pt x="747159" y="991845"/>
                  <a:pt x="747159" y="991845"/>
                  <a:pt x="747159" y="991845"/>
                </a:cubicBezTo>
                <a:cubicBezTo>
                  <a:pt x="804884" y="965572"/>
                  <a:pt x="843183" y="934397"/>
                  <a:pt x="875099" y="922741"/>
                </a:cubicBezTo>
                <a:cubicBezTo>
                  <a:pt x="878892" y="921353"/>
                  <a:pt x="882500" y="920243"/>
                  <a:pt x="886107" y="919503"/>
                </a:cubicBezTo>
                <a:cubicBezTo>
                  <a:pt x="889715" y="918670"/>
                  <a:pt x="893231" y="918208"/>
                  <a:pt x="896653" y="918115"/>
                </a:cubicBezTo>
                <a:cubicBezTo>
                  <a:pt x="898411" y="918023"/>
                  <a:pt x="900076" y="918115"/>
                  <a:pt x="901834" y="918208"/>
                </a:cubicBezTo>
                <a:cubicBezTo>
                  <a:pt x="918948" y="919410"/>
                  <a:pt x="935137" y="929864"/>
                  <a:pt x="952991" y="954564"/>
                </a:cubicBezTo>
                <a:cubicBezTo>
                  <a:pt x="990180" y="1006091"/>
                  <a:pt x="914600" y="1025611"/>
                  <a:pt x="902852" y="999801"/>
                </a:cubicBezTo>
                <a:cubicBezTo>
                  <a:pt x="959190" y="981577"/>
                  <a:pt x="908865" y="910622"/>
                  <a:pt x="857800" y="953639"/>
                </a:cubicBezTo>
                <a:cubicBezTo>
                  <a:pt x="855487" y="955582"/>
                  <a:pt x="853452" y="957709"/>
                  <a:pt x="851694" y="959929"/>
                </a:cubicBezTo>
                <a:cubicBezTo>
                  <a:pt x="849196" y="963075"/>
                  <a:pt x="847346" y="966590"/>
                  <a:pt x="845773" y="970290"/>
                </a:cubicBezTo>
                <a:cubicBezTo>
                  <a:pt x="839575" y="984907"/>
                  <a:pt x="840870" y="1002946"/>
                  <a:pt x="850121" y="1019505"/>
                </a:cubicBezTo>
                <a:cubicBezTo>
                  <a:pt x="850121" y="1019505"/>
                  <a:pt x="850121" y="1019505"/>
                  <a:pt x="850121" y="1019505"/>
                </a:cubicBezTo>
                <a:cubicBezTo>
                  <a:pt x="850121" y="1019505"/>
                  <a:pt x="850121" y="1019505"/>
                  <a:pt x="850121" y="1019505"/>
                </a:cubicBezTo>
                <a:cubicBezTo>
                  <a:pt x="841426" y="1024686"/>
                  <a:pt x="834395" y="1031346"/>
                  <a:pt x="829492" y="1038932"/>
                </a:cubicBezTo>
                <a:cubicBezTo>
                  <a:pt x="828104" y="1040967"/>
                  <a:pt x="827087" y="1043095"/>
                  <a:pt x="826069" y="1045315"/>
                </a:cubicBezTo>
                <a:cubicBezTo>
                  <a:pt x="825884" y="1045778"/>
                  <a:pt x="825514" y="1046240"/>
                  <a:pt x="825329" y="1046703"/>
                </a:cubicBezTo>
                <a:cubicBezTo>
                  <a:pt x="823016" y="1052068"/>
                  <a:pt x="821629" y="1057619"/>
                  <a:pt x="821351" y="1063354"/>
                </a:cubicBezTo>
                <a:cubicBezTo>
                  <a:pt x="821074" y="1069090"/>
                  <a:pt x="821906" y="1074826"/>
                  <a:pt x="823941" y="1080376"/>
                </a:cubicBezTo>
                <a:cubicBezTo>
                  <a:pt x="846699" y="1143190"/>
                  <a:pt x="925794" y="1106926"/>
                  <a:pt x="886107" y="1062892"/>
                </a:cubicBezTo>
                <a:cubicBezTo>
                  <a:pt x="909142" y="1046425"/>
                  <a:pt x="964925" y="1101191"/>
                  <a:pt x="906922" y="1127186"/>
                </a:cubicBezTo>
                <a:cubicBezTo>
                  <a:pt x="884627" y="1137177"/>
                  <a:pt x="867883" y="1139767"/>
                  <a:pt x="854192" y="1136529"/>
                </a:cubicBezTo>
                <a:cubicBezTo>
                  <a:pt x="850769" y="1135697"/>
                  <a:pt x="847531" y="1134586"/>
                  <a:pt x="844478" y="1133014"/>
                </a:cubicBezTo>
                <a:cubicBezTo>
                  <a:pt x="841426" y="1131534"/>
                  <a:pt x="838465" y="1129683"/>
                  <a:pt x="835597" y="1127463"/>
                </a:cubicBezTo>
                <a:cubicBezTo>
                  <a:pt x="832822" y="1125336"/>
                  <a:pt x="830047" y="1122838"/>
                  <a:pt x="827457" y="1120063"/>
                </a:cubicBezTo>
                <a:cubicBezTo>
                  <a:pt x="824866" y="1117287"/>
                  <a:pt x="822276" y="1114234"/>
                  <a:pt x="819778" y="1110904"/>
                </a:cubicBezTo>
                <a:cubicBezTo>
                  <a:pt x="818298" y="1109147"/>
                  <a:pt x="817003" y="1107481"/>
                  <a:pt x="815801" y="1105631"/>
                </a:cubicBezTo>
                <a:close/>
                <a:moveTo>
                  <a:pt x="791841" y="1331723"/>
                </a:moveTo>
                <a:cubicBezTo>
                  <a:pt x="833655" y="1219972"/>
                  <a:pt x="814690" y="1144207"/>
                  <a:pt x="910992" y="1159749"/>
                </a:cubicBezTo>
                <a:cubicBezTo>
                  <a:pt x="973806" y="1169832"/>
                  <a:pt x="934027" y="1237179"/>
                  <a:pt x="907569" y="1227188"/>
                </a:cubicBezTo>
                <a:cubicBezTo>
                  <a:pt x="934490" y="1174458"/>
                  <a:pt x="848734" y="1159934"/>
                  <a:pt x="842998" y="1226448"/>
                </a:cubicBezTo>
                <a:cubicBezTo>
                  <a:pt x="840963" y="1250223"/>
                  <a:pt x="857985" y="1271222"/>
                  <a:pt x="884072" y="1278438"/>
                </a:cubicBezTo>
                <a:cubicBezTo>
                  <a:pt x="877319" y="1304618"/>
                  <a:pt x="886940" y="1329873"/>
                  <a:pt x="908587" y="1340049"/>
                </a:cubicBezTo>
                <a:cubicBezTo>
                  <a:pt x="969088" y="1368357"/>
                  <a:pt x="999338" y="1286856"/>
                  <a:pt x="940225" y="1283803"/>
                </a:cubicBezTo>
                <a:cubicBezTo>
                  <a:pt x="944851" y="1255866"/>
                  <a:pt x="1023021" y="1255126"/>
                  <a:pt x="1000356" y="1314516"/>
                </a:cubicBezTo>
                <a:cubicBezTo>
                  <a:pt x="965665" y="1405638"/>
                  <a:pt x="909512" y="1351335"/>
                  <a:pt x="791841" y="1331723"/>
                </a:cubicBezTo>
                <a:close/>
                <a:moveTo>
                  <a:pt x="990458" y="1396109"/>
                </a:moveTo>
                <a:cubicBezTo>
                  <a:pt x="987682" y="1374925"/>
                  <a:pt x="996748" y="1355960"/>
                  <a:pt x="1026444" y="1334498"/>
                </a:cubicBezTo>
                <a:cubicBezTo>
                  <a:pt x="1077971" y="1297217"/>
                  <a:pt x="1097491" y="1372890"/>
                  <a:pt x="1071681" y="1384638"/>
                </a:cubicBezTo>
                <a:cubicBezTo>
                  <a:pt x="1053456" y="1328300"/>
                  <a:pt x="982502" y="1378625"/>
                  <a:pt x="1025518" y="1429690"/>
                </a:cubicBezTo>
                <a:cubicBezTo>
                  <a:pt x="1029404" y="1434223"/>
                  <a:pt x="1033937" y="1437831"/>
                  <a:pt x="1039025" y="1440514"/>
                </a:cubicBezTo>
                <a:cubicBezTo>
                  <a:pt x="1046611" y="1444399"/>
                  <a:pt x="1055306" y="1446157"/>
                  <a:pt x="1064280" y="1445694"/>
                </a:cubicBezTo>
                <a:cubicBezTo>
                  <a:pt x="1065297" y="1445602"/>
                  <a:pt x="1066408" y="1445417"/>
                  <a:pt x="1067425" y="1445232"/>
                </a:cubicBezTo>
                <a:cubicBezTo>
                  <a:pt x="1069368" y="1445047"/>
                  <a:pt x="1071403" y="1444862"/>
                  <a:pt x="1073346" y="1444399"/>
                </a:cubicBezTo>
                <a:cubicBezTo>
                  <a:pt x="1079451" y="1443104"/>
                  <a:pt x="1085557" y="1440791"/>
                  <a:pt x="1091385" y="1437461"/>
                </a:cubicBezTo>
                <a:cubicBezTo>
                  <a:pt x="1091385" y="1437461"/>
                  <a:pt x="1091385" y="1437461"/>
                  <a:pt x="1091385" y="1437461"/>
                </a:cubicBezTo>
                <a:cubicBezTo>
                  <a:pt x="1091385" y="1437461"/>
                  <a:pt x="1091385" y="1437461"/>
                  <a:pt x="1091385" y="1437461"/>
                </a:cubicBezTo>
                <a:cubicBezTo>
                  <a:pt x="1101746" y="1454945"/>
                  <a:pt x="1118120" y="1465491"/>
                  <a:pt x="1135234" y="1466324"/>
                </a:cubicBezTo>
                <a:cubicBezTo>
                  <a:pt x="1140877" y="1466601"/>
                  <a:pt x="1146705" y="1465769"/>
                  <a:pt x="1152256" y="1463733"/>
                </a:cubicBezTo>
                <a:cubicBezTo>
                  <a:pt x="1215069" y="1440976"/>
                  <a:pt x="1178806" y="1361881"/>
                  <a:pt x="1134772" y="1401567"/>
                </a:cubicBezTo>
                <a:cubicBezTo>
                  <a:pt x="1118305" y="1378533"/>
                  <a:pt x="1173070" y="1322750"/>
                  <a:pt x="1199065" y="1380753"/>
                </a:cubicBezTo>
                <a:cubicBezTo>
                  <a:pt x="1214052" y="1414149"/>
                  <a:pt x="1212387" y="1435148"/>
                  <a:pt x="1199435" y="1452077"/>
                </a:cubicBezTo>
                <a:cubicBezTo>
                  <a:pt x="1177788" y="1480293"/>
                  <a:pt x="1124503" y="1497037"/>
                  <a:pt x="1063817" y="1540331"/>
                </a:cubicBezTo>
                <a:cubicBezTo>
                  <a:pt x="1043558" y="1495834"/>
                  <a:pt x="1020338" y="1462808"/>
                  <a:pt x="1005444" y="1435426"/>
                </a:cubicBezTo>
                <a:cubicBezTo>
                  <a:pt x="1003871" y="1432558"/>
                  <a:pt x="1002391" y="1429690"/>
                  <a:pt x="1001004" y="1426915"/>
                </a:cubicBezTo>
                <a:cubicBezTo>
                  <a:pt x="995638" y="1415999"/>
                  <a:pt x="991753" y="1405823"/>
                  <a:pt x="990458" y="1396109"/>
                </a:cubicBezTo>
                <a:close/>
                <a:moveTo>
                  <a:pt x="899521" y="1942375"/>
                </a:moveTo>
                <a:cubicBezTo>
                  <a:pt x="1003409" y="1883724"/>
                  <a:pt x="1037545" y="1813417"/>
                  <a:pt x="1101376" y="1887240"/>
                </a:cubicBezTo>
                <a:cubicBezTo>
                  <a:pt x="1143005" y="1935344"/>
                  <a:pt x="1069275" y="1961339"/>
                  <a:pt x="1055399" y="1936732"/>
                </a:cubicBezTo>
                <a:cubicBezTo>
                  <a:pt x="1109979" y="1913697"/>
                  <a:pt x="1053549" y="1847368"/>
                  <a:pt x="1006462" y="1894640"/>
                </a:cubicBezTo>
                <a:cubicBezTo>
                  <a:pt x="989625" y="1911570"/>
                  <a:pt x="989255" y="1938582"/>
                  <a:pt x="1004519" y="1960877"/>
                </a:cubicBezTo>
                <a:cubicBezTo>
                  <a:pt x="982502" y="1976603"/>
                  <a:pt x="973621" y="2002136"/>
                  <a:pt x="983704" y="2023783"/>
                </a:cubicBezTo>
                <a:cubicBezTo>
                  <a:pt x="1011827" y="2084376"/>
                  <a:pt x="1087407" y="2041360"/>
                  <a:pt x="1044113" y="2001026"/>
                </a:cubicBezTo>
                <a:cubicBezTo>
                  <a:pt x="1065667" y="1982616"/>
                  <a:pt x="1125983" y="2032294"/>
                  <a:pt x="1070478" y="2063284"/>
                </a:cubicBezTo>
                <a:cubicBezTo>
                  <a:pt x="985092" y="2110741"/>
                  <a:pt x="977044" y="2033034"/>
                  <a:pt x="899521" y="1942375"/>
                </a:cubicBezTo>
                <a:close/>
                <a:moveTo>
                  <a:pt x="973713" y="2277072"/>
                </a:moveTo>
                <a:cubicBezTo>
                  <a:pt x="987682" y="2226748"/>
                  <a:pt x="990643" y="2184379"/>
                  <a:pt x="997766" y="2153110"/>
                </a:cubicBezTo>
                <a:cubicBezTo>
                  <a:pt x="999246" y="2146450"/>
                  <a:pt x="1001004" y="2140252"/>
                  <a:pt x="1003039" y="2134609"/>
                </a:cubicBezTo>
                <a:cubicBezTo>
                  <a:pt x="1005074" y="2128966"/>
                  <a:pt x="1007479" y="2123878"/>
                  <a:pt x="1010347" y="2119437"/>
                </a:cubicBezTo>
                <a:cubicBezTo>
                  <a:pt x="1012290" y="2116477"/>
                  <a:pt x="1014417" y="2113702"/>
                  <a:pt x="1016730" y="2111204"/>
                </a:cubicBezTo>
                <a:cubicBezTo>
                  <a:pt x="1017933" y="2110001"/>
                  <a:pt x="1019135" y="2108799"/>
                  <a:pt x="1020523" y="2107689"/>
                </a:cubicBezTo>
                <a:cubicBezTo>
                  <a:pt x="1023206" y="2105468"/>
                  <a:pt x="1026074" y="2103526"/>
                  <a:pt x="1029404" y="2101860"/>
                </a:cubicBezTo>
                <a:cubicBezTo>
                  <a:pt x="1034307" y="2099363"/>
                  <a:pt x="1039950" y="2097512"/>
                  <a:pt x="1046426" y="2096402"/>
                </a:cubicBezTo>
                <a:cubicBezTo>
                  <a:pt x="1050773" y="2095662"/>
                  <a:pt x="1055491" y="2095107"/>
                  <a:pt x="1060672" y="2094922"/>
                </a:cubicBezTo>
                <a:cubicBezTo>
                  <a:pt x="1065852" y="2094737"/>
                  <a:pt x="1071403" y="2094830"/>
                  <a:pt x="1077509" y="2095292"/>
                </a:cubicBezTo>
                <a:cubicBezTo>
                  <a:pt x="1140877" y="2099918"/>
                  <a:pt x="1107204" y="2170410"/>
                  <a:pt x="1079914" y="2162824"/>
                </a:cubicBezTo>
                <a:cubicBezTo>
                  <a:pt x="1102208" y="2107966"/>
                  <a:pt x="1015435" y="2100936"/>
                  <a:pt x="1015528" y="2167727"/>
                </a:cubicBezTo>
                <a:cubicBezTo>
                  <a:pt x="1015528" y="2173740"/>
                  <a:pt x="1016730" y="2179383"/>
                  <a:pt x="1018950" y="2184656"/>
                </a:cubicBezTo>
                <a:cubicBezTo>
                  <a:pt x="1023298" y="2195202"/>
                  <a:pt x="1031717" y="2203898"/>
                  <a:pt x="1042725" y="2209726"/>
                </a:cubicBezTo>
                <a:cubicBezTo>
                  <a:pt x="1048183" y="2212594"/>
                  <a:pt x="1054381" y="2214722"/>
                  <a:pt x="1061042" y="2216016"/>
                </a:cubicBezTo>
                <a:cubicBezTo>
                  <a:pt x="1061042" y="2216016"/>
                  <a:pt x="1061042" y="2216016"/>
                  <a:pt x="1061042" y="2216016"/>
                </a:cubicBezTo>
                <a:cubicBezTo>
                  <a:pt x="1061042" y="2216016"/>
                  <a:pt x="1061042" y="2216016"/>
                  <a:pt x="1061042" y="2216016"/>
                </a:cubicBezTo>
                <a:cubicBezTo>
                  <a:pt x="1057712" y="2235998"/>
                  <a:pt x="1063540" y="2254685"/>
                  <a:pt x="1076028" y="2266249"/>
                </a:cubicBezTo>
                <a:cubicBezTo>
                  <a:pt x="1080191" y="2270134"/>
                  <a:pt x="1085187" y="2273187"/>
                  <a:pt x="1090737" y="2275222"/>
                </a:cubicBezTo>
                <a:cubicBezTo>
                  <a:pt x="1153458" y="2298165"/>
                  <a:pt x="1176493" y="2214259"/>
                  <a:pt x="1117287" y="2216387"/>
                </a:cubicBezTo>
                <a:cubicBezTo>
                  <a:pt x="1119508" y="2188171"/>
                  <a:pt x="1197308" y="2180586"/>
                  <a:pt x="1179916" y="2241734"/>
                </a:cubicBezTo>
                <a:cubicBezTo>
                  <a:pt x="1171590" y="2271059"/>
                  <a:pt x="1159934" y="2286416"/>
                  <a:pt x="1144208" y="2293354"/>
                </a:cubicBezTo>
                <a:cubicBezTo>
                  <a:pt x="1109702" y="2308711"/>
                  <a:pt x="1055491" y="2283456"/>
                  <a:pt x="973713" y="2277072"/>
                </a:cubicBezTo>
                <a:cubicBezTo>
                  <a:pt x="973713" y="2277072"/>
                  <a:pt x="973713" y="2277072"/>
                  <a:pt x="973713" y="2277072"/>
                </a:cubicBezTo>
                <a:lnTo>
                  <a:pt x="973713" y="2277072"/>
                </a:lnTo>
                <a:close/>
                <a:moveTo>
                  <a:pt x="1143375" y="2329710"/>
                </a:moveTo>
                <a:cubicBezTo>
                  <a:pt x="1148370" y="2385586"/>
                  <a:pt x="1180101" y="2435725"/>
                  <a:pt x="1207761" y="2478372"/>
                </a:cubicBezTo>
                <a:cubicBezTo>
                  <a:pt x="1156974" y="2475782"/>
                  <a:pt x="1097676" y="2473284"/>
                  <a:pt x="1046796" y="2496967"/>
                </a:cubicBezTo>
                <a:cubicBezTo>
                  <a:pt x="1034954" y="2430082"/>
                  <a:pt x="984629" y="2375039"/>
                  <a:pt x="950956" y="2330080"/>
                </a:cubicBezTo>
                <a:cubicBezTo>
                  <a:pt x="1006739" y="2336833"/>
                  <a:pt x="1079544" y="2352837"/>
                  <a:pt x="1143375" y="2329710"/>
                </a:cubicBezTo>
                <a:close/>
                <a:moveTo>
                  <a:pt x="916358" y="2376335"/>
                </a:moveTo>
                <a:cubicBezTo>
                  <a:pt x="983889" y="2474672"/>
                  <a:pt x="1056879" y="2502609"/>
                  <a:pt x="988885" y="2572639"/>
                </a:cubicBezTo>
                <a:cubicBezTo>
                  <a:pt x="944573" y="2618246"/>
                  <a:pt x="912287" y="2547106"/>
                  <a:pt x="935600" y="2531102"/>
                </a:cubicBezTo>
                <a:cubicBezTo>
                  <a:pt x="963352" y="2583462"/>
                  <a:pt x="1024501" y="2521481"/>
                  <a:pt x="973251" y="2478650"/>
                </a:cubicBezTo>
                <a:cubicBezTo>
                  <a:pt x="970938" y="2476707"/>
                  <a:pt x="968533" y="2475134"/>
                  <a:pt x="966035" y="2473747"/>
                </a:cubicBezTo>
                <a:cubicBezTo>
                  <a:pt x="960947" y="2470972"/>
                  <a:pt x="955489" y="2469306"/>
                  <a:pt x="949846" y="2468659"/>
                </a:cubicBezTo>
                <a:cubicBezTo>
                  <a:pt x="935600" y="2466993"/>
                  <a:pt x="920243" y="2471804"/>
                  <a:pt x="907199" y="2482535"/>
                </a:cubicBezTo>
                <a:cubicBezTo>
                  <a:pt x="907199" y="2482535"/>
                  <a:pt x="907199" y="2482535"/>
                  <a:pt x="907199" y="2482535"/>
                </a:cubicBezTo>
                <a:cubicBezTo>
                  <a:pt x="907199" y="2482535"/>
                  <a:pt x="907199" y="2482535"/>
                  <a:pt x="907199" y="2482535"/>
                </a:cubicBezTo>
                <a:cubicBezTo>
                  <a:pt x="902759" y="2477447"/>
                  <a:pt x="897856" y="2473099"/>
                  <a:pt x="892583" y="2469861"/>
                </a:cubicBezTo>
                <a:cubicBezTo>
                  <a:pt x="885090" y="2465143"/>
                  <a:pt x="876949" y="2462368"/>
                  <a:pt x="868808" y="2461721"/>
                </a:cubicBezTo>
                <a:cubicBezTo>
                  <a:pt x="868346" y="2461721"/>
                  <a:pt x="867976" y="2461535"/>
                  <a:pt x="867513" y="2461535"/>
                </a:cubicBezTo>
                <a:cubicBezTo>
                  <a:pt x="861778" y="2461165"/>
                  <a:pt x="856134" y="2461906"/>
                  <a:pt x="850676" y="2463756"/>
                </a:cubicBezTo>
                <a:cubicBezTo>
                  <a:pt x="847901" y="2464681"/>
                  <a:pt x="845311" y="2465883"/>
                  <a:pt x="842721" y="2467364"/>
                </a:cubicBezTo>
                <a:cubicBezTo>
                  <a:pt x="784810" y="2500667"/>
                  <a:pt x="834302" y="2572269"/>
                  <a:pt x="870658" y="2525552"/>
                </a:cubicBezTo>
                <a:cubicBezTo>
                  <a:pt x="890825" y="2545349"/>
                  <a:pt x="846699" y="2609827"/>
                  <a:pt x="810990" y="2557190"/>
                </a:cubicBezTo>
                <a:cubicBezTo>
                  <a:pt x="756132" y="2476337"/>
                  <a:pt x="832822" y="2461535"/>
                  <a:pt x="916358" y="2376335"/>
                </a:cubicBezTo>
                <a:close/>
                <a:moveTo>
                  <a:pt x="589431" y="2479482"/>
                </a:moveTo>
                <a:cubicBezTo>
                  <a:pt x="706732" y="2501314"/>
                  <a:pt x="778057" y="2469399"/>
                  <a:pt x="779445" y="2566996"/>
                </a:cubicBezTo>
                <a:cubicBezTo>
                  <a:pt x="780370" y="2630550"/>
                  <a:pt x="707195" y="2603167"/>
                  <a:pt x="712375" y="2575322"/>
                </a:cubicBezTo>
                <a:cubicBezTo>
                  <a:pt x="768991" y="2592713"/>
                  <a:pt x="768436" y="2505662"/>
                  <a:pt x="701922" y="2511675"/>
                </a:cubicBezTo>
                <a:cubicBezTo>
                  <a:pt x="678147" y="2513803"/>
                  <a:pt x="660478" y="2534248"/>
                  <a:pt x="657795" y="2561168"/>
                </a:cubicBezTo>
                <a:cubicBezTo>
                  <a:pt x="630783" y="2559133"/>
                  <a:pt x="607655" y="2572916"/>
                  <a:pt x="601365" y="2595951"/>
                </a:cubicBezTo>
                <a:cubicBezTo>
                  <a:pt x="583973" y="2660430"/>
                  <a:pt x="669544" y="2676064"/>
                  <a:pt x="662236" y="2617321"/>
                </a:cubicBezTo>
                <a:cubicBezTo>
                  <a:pt x="690543" y="2617043"/>
                  <a:pt x="704882" y="2693918"/>
                  <a:pt x="642439" y="2681892"/>
                </a:cubicBezTo>
                <a:cubicBezTo>
                  <a:pt x="546784" y="2663483"/>
                  <a:pt x="590541" y="2598726"/>
                  <a:pt x="589431" y="2479482"/>
                </a:cubicBezTo>
                <a:close/>
                <a:moveTo>
                  <a:pt x="431148" y="2783559"/>
                </a:moveTo>
                <a:cubicBezTo>
                  <a:pt x="437254" y="2779304"/>
                  <a:pt x="443174" y="2775141"/>
                  <a:pt x="448817" y="2770886"/>
                </a:cubicBezTo>
                <a:cubicBezTo>
                  <a:pt x="461954" y="2760987"/>
                  <a:pt x="473702" y="2751274"/>
                  <a:pt x="484433" y="2742023"/>
                </a:cubicBezTo>
                <a:cubicBezTo>
                  <a:pt x="488134" y="2738877"/>
                  <a:pt x="491649" y="2735732"/>
                  <a:pt x="495164" y="2732772"/>
                </a:cubicBezTo>
                <a:cubicBezTo>
                  <a:pt x="497662" y="2730644"/>
                  <a:pt x="500067" y="2728517"/>
                  <a:pt x="502473" y="2726389"/>
                </a:cubicBezTo>
                <a:cubicBezTo>
                  <a:pt x="508393" y="2721301"/>
                  <a:pt x="513944" y="2716398"/>
                  <a:pt x="519402" y="2711957"/>
                </a:cubicBezTo>
                <a:cubicBezTo>
                  <a:pt x="522269" y="2709645"/>
                  <a:pt x="525045" y="2707332"/>
                  <a:pt x="527820" y="2705297"/>
                </a:cubicBezTo>
                <a:cubicBezTo>
                  <a:pt x="530133" y="2703446"/>
                  <a:pt x="532445" y="2701689"/>
                  <a:pt x="534758" y="2700116"/>
                </a:cubicBezTo>
                <a:cubicBezTo>
                  <a:pt x="536516" y="2698821"/>
                  <a:pt x="538274" y="2697619"/>
                  <a:pt x="540031" y="2696508"/>
                </a:cubicBezTo>
                <a:cubicBezTo>
                  <a:pt x="543547" y="2694195"/>
                  <a:pt x="546969" y="2692253"/>
                  <a:pt x="550392" y="2690495"/>
                </a:cubicBezTo>
                <a:cubicBezTo>
                  <a:pt x="553815" y="2688830"/>
                  <a:pt x="557238" y="2687350"/>
                  <a:pt x="560568" y="2686332"/>
                </a:cubicBezTo>
                <a:cubicBezTo>
                  <a:pt x="565656" y="2684760"/>
                  <a:pt x="570744" y="2683835"/>
                  <a:pt x="575925" y="2683927"/>
                </a:cubicBezTo>
                <a:cubicBezTo>
                  <a:pt x="591466" y="2684020"/>
                  <a:pt x="607840" y="2691975"/>
                  <a:pt x="627545" y="2711125"/>
                </a:cubicBezTo>
                <a:cubicBezTo>
                  <a:pt x="673152" y="2755437"/>
                  <a:pt x="602012" y="2787722"/>
                  <a:pt x="586008" y="2764410"/>
                </a:cubicBezTo>
                <a:cubicBezTo>
                  <a:pt x="638368" y="2736657"/>
                  <a:pt x="576387" y="2675509"/>
                  <a:pt x="533556" y="2726759"/>
                </a:cubicBezTo>
                <a:cubicBezTo>
                  <a:pt x="529763" y="2731384"/>
                  <a:pt x="526987" y="2736472"/>
                  <a:pt x="525230" y="2741930"/>
                </a:cubicBezTo>
                <a:cubicBezTo>
                  <a:pt x="522547" y="2750441"/>
                  <a:pt x="522547" y="2759599"/>
                  <a:pt x="524860" y="2768758"/>
                </a:cubicBezTo>
                <a:cubicBezTo>
                  <a:pt x="526987" y="2777176"/>
                  <a:pt x="531150" y="2785410"/>
                  <a:pt x="537348" y="2792995"/>
                </a:cubicBezTo>
                <a:cubicBezTo>
                  <a:pt x="537348" y="2792995"/>
                  <a:pt x="537348" y="2792995"/>
                  <a:pt x="537348" y="2792995"/>
                </a:cubicBezTo>
                <a:cubicBezTo>
                  <a:pt x="537348" y="2792995"/>
                  <a:pt x="537348" y="2792995"/>
                  <a:pt x="537348" y="2792995"/>
                </a:cubicBezTo>
                <a:cubicBezTo>
                  <a:pt x="524490" y="2804004"/>
                  <a:pt x="517089" y="2818343"/>
                  <a:pt x="516256" y="2832589"/>
                </a:cubicBezTo>
                <a:cubicBezTo>
                  <a:pt x="516071" y="2835457"/>
                  <a:pt x="516164" y="2838325"/>
                  <a:pt x="516534" y="2841100"/>
                </a:cubicBezTo>
                <a:cubicBezTo>
                  <a:pt x="517274" y="2846743"/>
                  <a:pt x="519124" y="2852294"/>
                  <a:pt x="522084" y="2857474"/>
                </a:cubicBezTo>
                <a:cubicBezTo>
                  <a:pt x="555388" y="2915385"/>
                  <a:pt x="626990" y="2865892"/>
                  <a:pt x="580273" y="2829536"/>
                </a:cubicBezTo>
                <a:cubicBezTo>
                  <a:pt x="600070" y="2809369"/>
                  <a:pt x="664548" y="2853496"/>
                  <a:pt x="611911" y="2889205"/>
                </a:cubicBezTo>
                <a:cubicBezTo>
                  <a:pt x="579070" y="2911499"/>
                  <a:pt x="557238" y="2911962"/>
                  <a:pt x="536978" y="2899195"/>
                </a:cubicBezTo>
                <a:cubicBezTo>
                  <a:pt x="507468" y="2880324"/>
                  <a:pt x="481750" y="2833144"/>
                  <a:pt x="431148" y="2783559"/>
                </a:cubicBezTo>
                <a:cubicBezTo>
                  <a:pt x="431148" y="2783559"/>
                  <a:pt x="431148" y="2783559"/>
                  <a:pt x="431148" y="2783559"/>
                </a:cubicBezTo>
                <a:lnTo>
                  <a:pt x="431148" y="2783559"/>
                </a:lnTo>
                <a:close/>
                <a:moveTo>
                  <a:pt x="379621" y="2809554"/>
                </a:moveTo>
                <a:cubicBezTo>
                  <a:pt x="418012" y="2850536"/>
                  <a:pt x="463526" y="2909649"/>
                  <a:pt x="527357" y="2932869"/>
                </a:cubicBezTo>
                <a:cubicBezTo>
                  <a:pt x="495257" y="2978846"/>
                  <a:pt x="487301" y="3037681"/>
                  <a:pt x="481103" y="3088192"/>
                </a:cubicBezTo>
                <a:cubicBezTo>
                  <a:pt x="443914" y="3053593"/>
                  <a:pt x="400065" y="3013537"/>
                  <a:pt x="345855" y="2999013"/>
                </a:cubicBezTo>
                <a:cubicBezTo>
                  <a:pt x="379713" y="2940177"/>
                  <a:pt x="376568" y="2865707"/>
                  <a:pt x="379621" y="2809554"/>
                </a:cubicBezTo>
                <a:close/>
                <a:moveTo>
                  <a:pt x="208479" y="2844893"/>
                </a:moveTo>
                <a:cubicBezTo>
                  <a:pt x="142705" y="2833144"/>
                  <a:pt x="134564" y="2919825"/>
                  <a:pt x="192475" y="2907429"/>
                </a:cubicBezTo>
                <a:cubicBezTo>
                  <a:pt x="195158" y="2935644"/>
                  <a:pt x="119948" y="2956551"/>
                  <a:pt x="126423" y="2893275"/>
                </a:cubicBezTo>
                <a:cubicBezTo>
                  <a:pt x="127996" y="2878103"/>
                  <a:pt x="130956" y="2866262"/>
                  <a:pt x="135304" y="2857011"/>
                </a:cubicBezTo>
                <a:cubicBezTo>
                  <a:pt x="137895" y="2851461"/>
                  <a:pt x="141040" y="2846835"/>
                  <a:pt x="144648" y="2842950"/>
                </a:cubicBezTo>
                <a:cubicBezTo>
                  <a:pt x="150661" y="2836567"/>
                  <a:pt x="158061" y="2832312"/>
                  <a:pt x="166850" y="2829536"/>
                </a:cubicBezTo>
                <a:cubicBezTo>
                  <a:pt x="179154" y="2825651"/>
                  <a:pt x="194047" y="2824633"/>
                  <a:pt x="211439" y="2824541"/>
                </a:cubicBezTo>
                <a:cubicBezTo>
                  <a:pt x="228923" y="2824448"/>
                  <a:pt x="248905" y="2825373"/>
                  <a:pt x="271385" y="2825188"/>
                </a:cubicBezTo>
                <a:cubicBezTo>
                  <a:pt x="287482" y="2825096"/>
                  <a:pt x="304781" y="2824541"/>
                  <a:pt x="323283" y="2822691"/>
                </a:cubicBezTo>
                <a:lnTo>
                  <a:pt x="323283" y="2822691"/>
                </a:lnTo>
                <a:cubicBezTo>
                  <a:pt x="323283" y="2822691"/>
                  <a:pt x="323283" y="2822691"/>
                  <a:pt x="323283" y="2822691"/>
                </a:cubicBezTo>
                <a:cubicBezTo>
                  <a:pt x="317177" y="2885782"/>
                  <a:pt x="325040" y="2934627"/>
                  <a:pt x="319120" y="2968022"/>
                </a:cubicBezTo>
                <a:cubicBezTo>
                  <a:pt x="317732" y="2975885"/>
                  <a:pt x="315604" y="2982916"/>
                  <a:pt x="312367" y="2989022"/>
                </a:cubicBezTo>
                <a:cubicBezTo>
                  <a:pt x="310701" y="2992075"/>
                  <a:pt x="308851" y="2994942"/>
                  <a:pt x="306631" y="2997533"/>
                </a:cubicBezTo>
                <a:cubicBezTo>
                  <a:pt x="304411" y="3000123"/>
                  <a:pt x="301820" y="3002621"/>
                  <a:pt x="298953" y="3004748"/>
                </a:cubicBezTo>
                <a:cubicBezTo>
                  <a:pt x="288684" y="3012427"/>
                  <a:pt x="273975" y="3017422"/>
                  <a:pt x="252698" y="3019550"/>
                </a:cubicBezTo>
                <a:cubicBezTo>
                  <a:pt x="189422" y="3026025"/>
                  <a:pt x="210422" y="2950723"/>
                  <a:pt x="238544" y="2953498"/>
                </a:cubicBezTo>
                <a:cubicBezTo>
                  <a:pt x="226148" y="3011409"/>
                  <a:pt x="312829" y="3003268"/>
                  <a:pt x="301080" y="2937494"/>
                </a:cubicBezTo>
                <a:cubicBezTo>
                  <a:pt x="300525" y="2934534"/>
                  <a:pt x="299785" y="2931759"/>
                  <a:pt x="298675" y="2929076"/>
                </a:cubicBezTo>
                <a:cubicBezTo>
                  <a:pt x="296825" y="2924266"/>
                  <a:pt x="294050" y="2920010"/>
                  <a:pt x="290627" y="2916217"/>
                </a:cubicBezTo>
                <a:cubicBezTo>
                  <a:pt x="290257" y="2915755"/>
                  <a:pt x="289887" y="2915200"/>
                  <a:pt x="289517" y="2914737"/>
                </a:cubicBezTo>
                <a:cubicBezTo>
                  <a:pt x="279711" y="2904376"/>
                  <a:pt x="264817" y="2898085"/>
                  <a:pt x="247888" y="2897900"/>
                </a:cubicBezTo>
                <a:cubicBezTo>
                  <a:pt x="247888" y="2897900"/>
                  <a:pt x="247888" y="2897900"/>
                  <a:pt x="247888" y="2897900"/>
                </a:cubicBezTo>
                <a:cubicBezTo>
                  <a:pt x="247888" y="2897900"/>
                  <a:pt x="247888" y="2897900"/>
                  <a:pt x="247888" y="2897900"/>
                </a:cubicBezTo>
                <a:cubicBezTo>
                  <a:pt x="247795" y="2888464"/>
                  <a:pt x="245668" y="2879676"/>
                  <a:pt x="242152" y="2872090"/>
                </a:cubicBezTo>
                <a:cubicBezTo>
                  <a:pt x="238082" y="2863302"/>
                  <a:pt x="232069" y="2855994"/>
                  <a:pt x="224390" y="2851091"/>
                </a:cubicBezTo>
                <a:cubicBezTo>
                  <a:pt x="219765" y="2848131"/>
                  <a:pt x="214399" y="2846003"/>
                  <a:pt x="208479" y="2844893"/>
                </a:cubicBezTo>
                <a:close/>
                <a:moveTo>
                  <a:pt x="135397" y="3421871"/>
                </a:moveTo>
                <a:cubicBezTo>
                  <a:pt x="131049" y="3412620"/>
                  <a:pt x="128089" y="3400687"/>
                  <a:pt x="126516" y="3385515"/>
                </a:cubicBezTo>
                <a:cubicBezTo>
                  <a:pt x="120040" y="3322239"/>
                  <a:pt x="195343" y="3343239"/>
                  <a:pt x="192567" y="3371361"/>
                </a:cubicBezTo>
                <a:cubicBezTo>
                  <a:pt x="134657" y="3358965"/>
                  <a:pt x="142798" y="3445646"/>
                  <a:pt x="208571" y="3433898"/>
                </a:cubicBezTo>
                <a:cubicBezTo>
                  <a:pt x="217360" y="3432325"/>
                  <a:pt x="225131" y="3428254"/>
                  <a:pt x="231329" y="3422334"/>
                </a:cubicBezTo>
                <a:cubicBezTo>
                  <a:pt x="234289" y="3419466"/>
                  <a:pt x="236879" y="3416136"/>
                  <a:pt x="239099" y="3412528"/>
                </a:cubicBezTo>
                <a:cubicBezTo>
                  <a:pt x="244650" y="3403647"/>
                  <a:pt x="247980" y="3392731"/>
                  <a:pt x="248165" y="3380705"/>
                </a:cubicBezTo>
                <a:cubicBezTo>
                  <a:pt x="248165" y="3380705"/>
                  <a:pt x="248165" y="3380705"/>
                  <a:pt x="248165" y="3380705"/>
                </a:cubicBezTo>
                <a:cubicBezTo>
                  <a:pt x="248165" y="3380705"/>
                  <a:pt x="248165" y="3380705"/>
                  <a:pt x="248165" y="3380705"/>
                </a:cubicBezTo>
                <a:cubicBezTo>
                  <a:pt x="262042" y="3380520"/>
                  <a:pt x="274623" y="3376264"/>
                  <a:pt x="284059" y="3368956"/>
                </a:cubicBezTo>
                <a:cubicBezTo>
                  <a:pt x="288407" y="3365626"/>
                  <a:pt x="292107" y="3361648"/>
                  <a:pt x="295067" y="3357208"/>
                </a:cubicBezTo>
                <a:cubicBezTo>
                  <a:pt x="298120" y="3352397"/>
                  <a:pt x="300248" y="3347032"/>
                  <a:pt x="301358" y="3341111"/>
                </a:cubicBezTo>
                <a:cubicBezTo>
                  <a:pt x="313107" y="3275337"/>
                  <a:pt x="226426" y="3267196"/>
                  <a:pt x="238822" y="3325200"/>
                </a:cubicBezTo>
                <a:cubicBezTo>
                  <a:pt x="210607" y="3327882"/>
                  <a:pt x="189700" y="3252673"/>
                  <a:pt x="252976" y="3259148"/>
                </a:cubicBezTo>
                <a:cubicBezTo>
                  <a:pt x="274160" y="3261276"/>
                  <a:pt x="288962" y="3266271"/>
                  <a:pt x="299230" y="3273949"/>
                </a:cubicBezTo>
                <a:cubicBezTo>
                  <a:pt x="302191" y="3276170"/>
                  <a:pt x="304688" y="3278575"/>
                  <a:pt x="306908" y="3281165"/>
                </a:cubicBezTo>
                <a:cubicBezTo>
                  <a:pt x="309129" y="3283755"/>
                  <a:pt x="311071" y="3286623"/>
                  <a:pt x="312644" y="3289676"/>
                </a:cubicBezTo>
                <a:cubicBezTo>
                  <a:pt x="315882" y="3295781"/>
                  <a:pt x="318010" y="3302812"/>
                  <a:pt x="319397" y="3310676"/>
                </a:cubicBezTo>
                <a:cubicBezTo>
                  <a:pt x="325225" y="3344071"/>
                  <a:pt x="317362" y="3392916"/>
                  <a:pt x="323560" y="3456007"/>
                </a:cubicBezTo>
                <a:cubicBezTo>
                  <a:pt x="323560" y="3456007"/>
                  <a:pt x="323560" y="3456007"/>
                  <a:pt x="323560" y="3456007"/>
                </a:cubicBezTo>
                <a:lnTo>
                  <a:pt x="323560" y="3456007"/>
                </a:lnTo>
                <a:cubicBezTo>
                  <a:pt x="304966" y="3454249"/>
                  <a:pt x="287667" y="3453602"/>
                  <a:pt x="271663" y="3453509"/>
                </a:cubicBezTo>
                <a:cubicBezTo>
                  <a:pt x="249183" y="3453417"/>
                  <a:pt x="229201" y="3454249"/>
                  <a:pt x="211717" y="3454157"/>
                </a:cubicBezTo>
                <a:cubicBezTo>
                  <a:pt x="194233" y="3454064"/>
                  <a:pt x="179339" y="3453047"/>
                  <a:pt x="167127" y="3449162"/>
                </a:cubicBezTo>
                <a:cubicBezTo>
                  <a:pt x="158339" y="3446386"/>
                  <a:pt x="150938" y="3442131"/>
                  <a:pt x="144925" y="3435748"/>
                </a:cubicBezTo>
                <a:cubicBezTo>
                  <a:pt x="141132" y="3432047"/>
                  <a:pt x="137987" y="3427422"/>
                  <a:pt x="135397" y="342187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6" name="Freeform: Shape 575">
            <a:extLst>
              <a:ext uri="{FF2B5EF4-FFF2-40B4-BE49-F238E27FC236}">
                <a16:creationId xmlns="" xmlns:a16="http://schemas.microsoft.com/office/drawing/2014/main" id="{F6C5F50C-5CDF-4C7D-A709-D1E7A19202EC}"/>
              </a:ext>
            </a:extLst>
          </p:cNvPr>
          <p:cNvSpPr/>
          <p:nvPr/>
        </p:nvSpPr>
        <p:spPr>
          <a:xfrm>
            <a:off x="717444" y="3917664"/>
            <a:ext cx="111011" cy="157265"/>
          </a:xfrm>
          <a:custGeom>
            <a:avLst/>
            <a:gdLst>
              <a:gd name="connsiteX0" fmla="*/ 106349 w 111010"/>
              <a:gd name="connsiteY0" fmla="*/ 153159 h 157265"/>
              <a:gd name="connsiteX1" fmla="*/ 106349 w 111010"/>
              <a:gd name="connsiteY1" fmla="*/ 153159 h 157265"/>
              <a:gd name="connsiteX2" fmla="*/ 6717 w 111010"/>
              <a:gd name="connsiteY2" fmla="*/ 6717 h 157265"/>
              <a:gd name="connsiteX3" fmla="*/ 106349 w 111010"/>
              <a:gd name="connsiteY3" fmla="*/ 153159 h 157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010" h="157265">
                <a:moveTo>
                  <a:pt x="106349" y="153159"/>
                </a:moveTo>
                <a:cubicBezTo>
                  <a:pt x="106349" y="153159"/>
                  <a:pt x="106349" y="153159"/>
                  <a:pt x="106349" y="153159"/>
                </a:cubicBezTo>
                <a:cubicBezTo>
                  <a:pt x="90530" y="114582"/>
                  <a:pt x="38447" y="66385"/>
                  <a:pt x="6717" y="6717"/>
                </a:cubicBezTo>
                <a:cubicBezTo>
                  <a:pt x="38447" y="66385"/>
                  <a:pt x="90530" y="114582"/>
                  <a:pt x="106349" y="15315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7" name="Freeform: Shape 576">
            <a:extLst>
              <a:ext uri="{FF2B5EF4-FFF2-40B4-BE49-F238E27FC236}">
                <a16:creationId xmlns="" xmlns:a16="http://schemas.microsoft.com/office/drawing/2014/main" id="{A2932D3C-6E52-4AC0-A4BC-702AEF2DDFCC}"/>
              </a:ext>
            </a:extLst>
          </p:cNvPr>
          <p:cNvSpPr/>
          <p:nvPr/>
        </p:nvSpPr>
        <p:spPr>
          <a:xfrm>
            <a:off x="703382" y="3886858"/>
            <a:ext cx="18502" cy="37004"/>
          </a:xfrm>
          <a:custGeom>
            <a:avLst/>
            <a:gdLst>
              <a:gd name="connsiteX0" fmla="*/ 20686 w 18501"/>
              <a:gd name="connsiteY0" fmla="*/ 37522 h 37003"/>
              <a:gd name="connsiteX1" fmla="*/ 6717 w 18501"/>
              <a:gd name="connsiteY1" fmla="*/ 6717 h 37003"/>
              <a:gd name="connsiteX2" fmla="*/ 20686 w 18501"/>
              <a:gd name="connsiteY2" fmla="*/ 37522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37003">
                <a:moveTo>
                  <a:pt x="20686" y="37522"/>
                </a:moveTo>
                <a:cubicBezTo>
                  <a:pt x="15413" y="27531"/>
                  <a:pt x="10695" y="17355"/>
                  <a:pt x="6717" y="6717"/>
                </a:cubicBezTo>
                <a:cubicBezTo>
                  <a:pt x="10695" y="17263"/>
                  <a:pt x="15413" y="27531"/>
                  <a:pt x="20686" y="3752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8" name="Freeform: Shape 577">
            <a:extLst>
              <a:ext uri="{FF2B5EF4-FFF2-40B4-BE49-F238E27FC236}">
                <a16:creationId xmlns="" xmlns:a16="http://schemas.microsoft.com/office/drawing/2014/main" id="{50156A10-20DA-4614-8573-F78E342B8E6E}"/>
              </a:ext>
            </a:extLst>
          </p:cNvPr>
          <p:cNvSpPr/>
          <p:nvPr/>
        </p:nvSpPr>
        <p:spPr>
          <a:xfrm>
            <a:off x="877854" y="3974464"/>
            <a:ext cx="37004" cy="37004"/>
          </a:xfrm>
          <a:custGeom>
            <a:avLst/>
            <a:gdLst>
              <a:gd name="connsiteX0" fmla="*/ 35765 w 37003"/>
              <a:gd name="connsiteY0" fmla="*/ 6717 h 37003"/>
              <a:gd name="connsiteX1" fmla="*/ 6717 w 37003"/>
              <a:gd name="connsiteY1" fmla="*/ 33914 h 37003"/>
              <a:gd name="connsiteX2" fmla="*/ 35765 w 37003"/>
              <a:gd name="connsiteY2" fmla="*/ 67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37003">
                <a:moveTo>
                  <a:pt x="35765" y="6717"/>
                </a:moveTo>
                <a:cubicBezTo>
                  <a:pt x="26051" y="16245"/>
                  <a:pt x="16245" y="25311"/>
                  <a:pt x="6717" y="33914"/>
                </a:cubicBezTo>
                <a:cubicBezTo>
                  <a:pt x="16245" y="25311"/>
                  <a:pt x="26051" y="16338"/>
                  <a:pt x="35765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9" name="Freeform: Shape 578">
            <a:extLst>
              <a:ext uri="{FF2B5EF4-FFF2-40B4-BE49-F238E27FC236}">
                <a16:creationId xmlns="" xmlns:a16="http://schemas.microsoft.com/office/drawing/2014/main" id="{54A7B168-313D-4A75-90B9-9CB2FD1C0363}"/>
              </a:ext>
            </a:extLst>
          </p:cNvPr>
          <p:cNvSpPr/>
          <p:nvPr/>
        </p:nvSpPr>
        <p:spPr>
          <a:xfrm>
            <a:off x="935765" y="3923584"/>
            <a:ext cx="27753" cy="27753"/>
          </a:xfrm>
          <a:custGeom>
            <a:avLst/>
            <a:gdLst>
              <a:gd name="connsiteX0" fmla="*/ 21611 w 27752"/>
              <a:gd name="connsiteY0" fmla="*/ 6717 h 27752"/>
              <a:gd name="connsiteX1" fmla="*/ 6717 w 27752"/>
              <a:gd name="connsiteY1" fmla="*/ 26236 h 27752"/>
              <a:gd name="connsiteX2" fmla="*/ 21611 w 27752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27752">
                <a:moveTo>
                  <a:pt x="21611" y="6717"/>
                </a:moveTo>
                <a:cubicBezTo>
                  <a:pt x="16985" y="13470"/>
                  <a:pt x="11897" y="19945"/>
                  <a:pt x="6717" y="26236"/>
                </a:cubicBezTo>
                <a:cubicBezTo>
                  <a:pt x="11897" y="19853"/>
                  <a:pt x="16985" y="13470"/>
                  <a:pt x="21611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0" name="Freeform: Shape 579">
            <a:extLst>
              <a:ext uri="{FF2B5EF4-FFF2-40B4-BE49-F238E27FC236}">
                <a16:creationId xmlns="" xmlns:a16="http://schemas.microsoft.com/office/drawing/2014/main" id="{093998A4-256E-4151-8050-F4C9D360AB32}"/>
              </a:ext>
            </a:extLst>
          </p:cNvPr>
          <p:cNvSpPr/>
          <p:nvPr/>
        </p:nvSpPr>
        <p:spPr>
          <a:xfrm>
            <a:off x="180707" y="4203701"/>
            <a:ext cx="203520" cy="27753"/>
          </a:xfrm>
          <a:custGeom>
            <a:avLst/>
            <a:gdLst>
              <a:gd name="connsiteX0" fmla="*/ 199413 w 203519"/>
              <a:gd name="connsiteY0" fmla="*/ 28549 h 27752"/>
              <a:gd name="connsiteX1" fmla="*/ 199413 w 203519"/>
              <a:gd name="connsiteY1" fmla="*/ 28549 h 27752"/>
              <a:gd name="connsiteX2" fmla="*/ 6717 w 203519"/>
              <a:gd name="connsiteY2" fmla="*/ 6717 h 27752"/>
              <a:gd name="connsiteX3" fmla="*/ 199413 w 203519"/>
              <a:gd name="connsiteY3" fmla="*/ 28549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3519" h="27752">
                <a:moveTo>
                  <a:pt x="199413" y="28549"/>
                </a:moveTo>
                <a:cubicBezTo>
                  <a:pt x="199413" y="28549"/>
                  <a:pt x="199413" y="28549"/>
                  <a:pt x="199413" y="28549"/>
                </a:cubicBezTo>
                <a:cubicBezTo>
                  <a:pt x="156396" y="14765"/>
                  <a:pt x="77394" y="26421"/>
                  <a:pt x="6717" y="6717"/>
                </a:cubicBezTo>
                <a:cubicBezTo>
                  <a:pt x="77394" y="26421"/>
                  <a:pt x="156396" y="14858"/>
                  <a:pt x="199413" y="2854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1" name="Freeform: Shape 580">
            <a:extLst>
              <a:ext uri="{FF2B5EF4-FFF2-40B4-BE49-F238E27FC236}">
                <a16:creationId xmlns="" xmlns:a16="http://schemas.microsoft.com/office/drawing/2014/main" id="{46336C2B-A4DF-458F-9D61-3DC8D7B32661}"/>
              </a:ext>
            </a:extLst>
          </p:cNvPr>
          <p:cNvSpPr/>
          <p:nvPr/>
        </p:nvSpPr>
        <p:spPr>
          <a:xfrm>
            <a:off x="229366" y="730914"/>
            <a:ext cx="74007" cy="37004"/>
          </a:xfrm>
          <a:custGeom>
            <a:avLst/>
            <a:gdLst>
              <a:gd name="connsiteX0" fmla="*/ 6717 w 74007"/>
              <a:gd name="connsiteY0" fmla="*/ 6717 h 37003"/>
              <a:gd name="connsiteX1" fmla="*/ 6717 w 74007"/>
              <a:gd name="connsiteY1" fmla="*/ 6717 h 37003"/>
              <a:gd name="connsiteX2" fmla="*/ 67773 w 74007"/>
              <a:gd name="connsiteY2" fmla="*/ 37430 h 37003"/>
              <a:gd name="connsiteX3" fmla="*/ 6717 w 74007"/>
              <a:gd name="connsiteY3" fmla="*/ 67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07" h="37003">
                <a:moveTo>
                  <a:pt x="6717" y="6717"/>
                </a:moveTo>
                <a:cubicBezTo>
                  <a:pt x="6717" y="6717"/>
                  <a:pt x="6717" y="6717"/>
                  <a:pt x="6717" y="6717"/>
                </a:cubicBezTo>
                <a:cubicBezTo>
                  <a:pt x="21333" y="18003"/>
                  <a:pt x="43073" y="27439"/>
                  <a:pt x="67773" y="37430"/>
                </a:cubicBezTo>
                <a:cubicBezTo>
                  <a:pt x="43073" y="27439"/>
                  <a:pt x="21333" y="18003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2" name="Freeform: Shape 581">
            <a:extLst>
              <a:ext uri="{FF2B5EF4-FFF2-40B4-BE49-F238E27FC236}">
                <a16:creationId xmlns="" xmlns:a16="http://schemas.microsoft.com/office/drawing/2014/main" id="{F230F217-952B-4193-831A-3FD0CCD0522E}"/>
              </a:ext>
            </a:extLst>
          </p:cNvPr>
          <p:cNvSpPr/>
          <p:nvPr/>
        </p:nvSpPr>
        <p:spPr>
          <a:xfrm>
            <a:off x="1739576" y="2417815"/>
            <a:ext cx="37004" cy="111011"/>
          </a:xfrm>
          <a:custGeom>
            <a:avLst/>
            <a:gdLst>
              <a:gd name="connsiteX0" fmla="*/ 34654 w 37003"/>
              <a:gd name="connsiteY0" fmla="*/ 6717 h 111010"/>
              <a:gd name="connsiteX1" fmla="*/ 34654 w 37003"/>
              <a:gd name="connsiteY1" fmla="*/ 6717 h 111010"/>
              <a:gd name="connsiteX2" fmla="*/ 6717 w 37003"/>
              <a:gd name="connsiteY2" fmla="*/ 110049 h 111010"/>
              <a:gd name="connsiteX3" fmla="*/ 34654 w 37003"/>
              <a:gd name="connsiteY3" fmla="*/ 6717 h 111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03" h="111010">
                <a:moveTo>
                  <a:pt x="34654" y="6717"/>
                </a:moveTo>
                <a:cubicBezTo>
                  <a:pt x="34654" y="6717"/>
                  <a:pt x="34654" y="6717"/>
                  <a:pt x="34654" y="6717"/>
                </a:cubicBezTo>
                <a:cubicBezTo>
                  <a:pt x="22073" y="30677"/>
                  <a:pt x="16153" y="68975"/>
                  <a:pt x="6717" y="110049"/>
                </a:cubicBezTo>
                <a:cubicBezTo>
                  <a:pt x="16245" y="68975"/>
                  <a:pt x="22073" y="30677"/>
                  <a:pt x="34654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3" name="Freeform: Shape 582">
            <a:extLst>
              <a:ext uri="{FF2B5EF4-FFF2-40B4-BE49-F238E27FC236}">
                <a16:creationId xmlns="" xmlns:a16="http://schemas.microsoft.com/office/drawing/2014/main" id="{EAA0FDD0-8F93-4104-8E52-8D9E05D2B593}"/>
              </a:ext>
            </a:extLst>
          </p:cNvPr>
          <p:cNvSpPr/>
          <p:nvPr/>
        </p:nvSpPr>
        <p:spPr>
          <a:xfrm>
            <a:off x="1434574" y="3103770"/>
            <a:ext cx="212771" cy="74007"/>
          </a:xfrm>
          <a:custGeom>
            <a:avLst/>
            <a:gdLst>
              <a:gd name="connsiteX0" fmla="*/ 207646 w 212770"/>
              <a:gd name="connsiteY0" fmla="*/ 69438 h 74007"/>
              <a:gd name="connsiteX1" fmla="*/ 207646 w 212770"/>
              <a:gd name="connsiteY1" fmla="*/ 69438 h 74007"/>
              <a:gd name="connsiteX2" fmla="*/ 6717 w 212770"/>
              <a:gd name="connsiteY2" fmla="*/ 6717 h 74007"/>
              <a:gd name="connsiteX3" fmla="*/ 207646 w 212770"/>
              <a:gd name="connsiteY3" fmla="*/ 69438 h 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770" h="74007">
                <a:moveTo>
                  <a:pt x="207646" y="69438"/>
                </a:moveTo>
                <a:cubicBezTo>
                  <a:pt x="207646" y="69438"/>
                  <a:pt x="207646" y="69438"/>
                  <a:pt x="207646" y="69438"/>
                </a:cubicBezTo>
                <a:cubicBezTo>
                  <a:pt x="164630" y="46866"/>
                  <a:pt x="75266" y="45848"/>
                  <a:pt x="6717" y="6717"/>
                </a:cubicBezTo>
                <a:cubicBezTo>
                  <a:pt x="75358" y="45940"/>
                  <a:pt x="164630" y="46866"/>
                  <a:pt x="207646" y="6943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4" name="Freeform: Shape 583">
            <a:extLst>
              <a:ext uri="{FF2B5EF4-FFF2-40B4-BE49-F238E27FC236}">
                <a16:creationId xmlns="" xmlns:a16="http://schemas.microsoft.com/office/drawing/2014/main" id="{04B22D9C-784A-435E-A306-7EFC28D6A05B}"/>
              </a:ext>
            </a:extLst>
          </p:cNvPr>
          <p:cNvSpPr/>
          <p:nvPr/>
        </p:nvSpPr>
        <p:spPr>
          <a:xfrm>
            <a:off x="1261397" y="3653458"/>
            <a:ext cx="37004" cy="27753"/>
          </a:xfrm>
          <a:custGeom>
            <a:avLst/>
            <a:gdLst>
              <a:gd name="connsiteX0" fmla="*/ 33544 w 37003"/>
              <a:gd name="connsiteY0" fmla="*/ 6717 h 27752"/>
              <a:gd name="connsiteX1" fmla="*/ 6717 w 37003"/>
              <a:gd name="connsiteY1" fmla="*/ 23646 h 27752"/>
              <a:gd name="connsiteX2" fmla="*/ 33544 w 37003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27752">
                <a:moveTo>
                  <a:pt x="33544" y="6717"/>
                </a:moveTo>
                <a:cubicBezTo>
                  <a:pt x="24848" y="12637"/>
                  <a:pt x="15968" y="18373"/>
                  <a:pt x="6717" y="23646"/>
                </a:cubicBezTo>
                <a:cubicBezTo>
                  <a:pt x="15875" y="18280"/>
                  <a:pt x="24848" y="12637"/>
                  <a:pt x="33544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5" name="Freeform: Shape 584">
            <a:extLst>
              <a:ext uri="{FF2B5EF4-FFF2-40B4-BE49-F238E27FC236}">
                <a16:creationId xmlns="" xmlns:a16="http://schemas.microsoft.com/office/drawing/2014/main" id="{93BE39FE-8273-403E-A38B-580933236B05}"/>
              </a:ext>
            </a:extLst>
          </p:cNvPr>
          <p:cNvSpPr/>
          <p:nvPr/>
        </p:nvSpPr>
        <p:spPr>
          <a:xfrm>
            <a:off x="1640684" y="3082400"/>
            <a:ext cx="9251" cy="18502"/>
          </a:xfrm>
          <a:custGeom>
            <a:avLst/>
            <a:gdLst>
              <a:gd name="connsiteX0" fmla="*/ 7642 w 9250"/>
              <a:gd name="connsiteY0" fmla="*/ 6717 h 18501"/>
              <a:gd name="connsiteX1" fmla="*/ 6717 w 9250"/>
              <a:gd name="connsiteY1" fmla="*/ 13377 h 18501"/>
              <a:gd name="connsiteX2" fmla="*/ 7642 w 9250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7642" y="6717"/>
                </a:moveTo>
                <a:cubicBezTo>
                  <a:pt x="7364" y="8937"/>
                  <a:pt x="6994" y="11157"/>
                  <a:pt x="6717" y="13377"/>
                </a:cubicBezTo>
                <a:cubicBezTo>
                  <a:pt x="6994" y="11157"/>
                  <a:pt x="7364" y="8937"/>
                  <a:pt x="764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6" name="Freeform: Shape 585">
            <a:extLst>
              <a:ext uri="{FF2B5EF4-FFF2-40B4-BE49-F238E27FC236}">
                <a16:creationId xmlns="" xmlns:a16="http://schemas.microsoft.com/office/drawing/2014/main" id="{2B09B02B-57BB-4300-965D-D79C425A1BFB}"/>
              </a:ext>
            </a:extLst>
          </p:cNvPr>
          <p:cNvSpPr/>
          <p:nvPr/>
        </p:nvSpPr>
        <p:spPr>
          <a:xfrm>
            <a:off x="1324673" y="3613586"/>
            <a:ext cx="27753" cy="18502"/>
          </a:xfrm>
          <a:custGeom>
            <a:avLst/>
            <a:gdLst>
              <a:gd name="connsiteX0" fmla="*/ 23461 w 27752"/>
              <a:gd name="connsiteY0" fmla="*/ 6717 h 18501"/>
              <a:gd name="connsiteX1" fmla="*/ 6717 w 27752"/>
              <a:gd name="connsiteY1" fmla="*/ 19668 h 18501"/>
              <a:gd name="connsiteX2" fmla="*/ 23461 w 27752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18501">
                <a:moveTo>
                  <a:pt x="23461" y="6717"/>
                </a:moveTo>
                <a:cubicBezTo>
                  <a:pt x="18003" y="10972"/>
                  <a:pt x="12452" y="15320"/>
                  <a:pt x="6717" y="19668"/>
                </a:cubicBezTo>
                <a:cubicBezTo>
                  <a:pt x="12452" y="15228"/>
                  <a:pt x="18003" y="10972"/>
                  <a:pt x="23461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7" name="Freeform: Shape 586">
            <a:extLst>
              <a:ext uri="{FF2B5EF4-FFF2-40B4-BE49-F238E27FC236}">
                <a16:creationId xmlns="" xmlns:a16="http://schemas.microsoft.com/office/drawing/2014/main" id="{5B3E0679-0496-455B-8350-A78388B47DB7}"/>
              </a:ext>
            </a:extLst>
          </p:cNvPr>
          <p:cNvSpPr/>
          <p:nvPr/>
        </p:nvSpPr>
        <p:spPr>
          <a:xfrm>
            <a:off x="1357606" y="3575380"/>
            <a:ext cx="46255" cy="37004"/>
          </a:xfrm>
          <a:custGeom>
            <a:avLst/>
            <a:gdLst>
              <a:gd name="connsiteX0" fmla="*/ 48531 w 46254"/>
              <a:gd name="connsiteY0" fmla="*/ 6717 h 37003"/>
              <a:gd name="connsiteX1" fmla="*/ 48531 w 46254"/>
              <a:gd name="connsiteY1" fmla="*/ 6717 h 37003"/>
              <a:gd name="connsiteX2" fmla="*/ 6717 w 46254"/>
              <a:gd name="connsiteY2" fmla="*/ 32527 h 37003"/>
              <a:gd name="connsiteX3" fmla="*/ 48531 w 46254"/>
              <a:gd name="connsiteY3" fmla="*/ 67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37003">
                <a:moveTo>
                  <a:pt x="48531" y="6717"/>
                </a:moveTo>
                <a:cubicBezTo>
                  <a:pt x="48531" y="6717"/>
                  <a:pt x="48531" y="6717"/>
                  <a:pt x="48531" y="6717"/>
                </a:cubicBezTo>
                <a:cubicBezTo>
                  <a:pt x="35672" y="11990"/>
                  <a:pt x="21796" y="21241"/>
                  <a:pt x="6717" y="32527"/>
                </a:cubicBezTo>
                <a:cubicBezTo>
                  <a:pt x="21796" y="21333"/>
                  <a:pt x="35765" y="11990"/>
                  <a:pt x="48531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8" name="Freeform: Shape 587">
            <a:extLst>
              <a:ext uri="{FF2B5EF4-FFF2-40B4-BE49-F238E27FC236}">
                <a16:creationId xmlns="" xmlns:a16="http://schemas.microsoft.com/office/drawing/2014/main" id="{E5AE09D4-2411-4AD2-BACA-10F283E4B484}"/>
              </a:ext>
            </a:extLst>
          </p:cNvPr>
          <p:cNvSpPr/>
          <p:nvPr/>
        </p:nvSpPr>
        <p:spPr>
          <a:xfrm>
            <a:off x="1719501" y="2550288"/>
            <a:ext cx="18502" cy="46254"/>
          </a:xfrm>
          <a:custGeom>
            <a:avLst/>
            <a:gdLst>
              <a:gd name="connsiteX0" fmla="*/ 19390 w 18501"/>
              <a:gd name="connsiteY0" fmla="*/ 6717 h 46254"/>
              <a:gd name="connsiteX1" fmla="*/ 6717 w 18501"/>
              <a:gd name="connsiteY1" fmla="*/ 44738 h 46254"/>
              <a:gd name="connsiteX2" fmla="*/ 19390 w 18501"/>
              <a:gd name="connsiteY2" fmla="*/ 6717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46254">
                <a:moveTo>
                  <a:pt x="19390" y="6717"/>
                </a:moveTo>
                <a:cubicBezTo>
                  <a:pt x="15783" y="19483"/>
                  <a:pt x="11712" y="32249"/>
                  <a:pt x="6717" y="44738"/>
                </a:cubicBezTo>
                <a:cubicBezTo>
                  <a:pt x="11712" y="32249"/>
                  <a:pt x="15783" y="19483"/>
                  <a:pt x="19390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9" name="Freeform: Shape 588">
            <a:extLst>
              <a:ext uri="{FF2B5EF4-FFF2-40B4-BE49-F238E27FC236}">
                <a16:creationId xmlns="" xmlns:a16="http://schemas.microsoft.com/office/drawing/2014/main" id="{7E87F55C-16ED-4419-A438-52F8E87180BF}"/>
              </a:ext>
            </a:extLst>
          </p:cNvPr>
          <p:cNvSpPr/>
          <p:nvPr/>
        </p:nvSpPr>
        <p:spPr>
          <a:xfrm>
            <a:off x="1351963" y="1394573"/>
            <a:ext cx="27753" cy="46254"/>
          </a:xfrm>
          <a:custGeom>
            <a:avLst/>
            <a:gdLst>
              <a:gd name="connsiteX0" fmla="*/ 6717 w 27752"/>
              <a:gd name="connsiteY0" fmla="*/ 6717 h 46254"/>
              <a:gd name="connsiteX1" fmla="*/ 24664 w 27752"/>
              <a:gd name="connsiteY1" fmla="*/ 45848 h 46254"/>
              <a:gd name="connsiteX2" fmla="*/ 6717 w 27752"/>
              <a:gd name="connsiteY2" fmla="*/ 6717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46254">
                <a:moveTo>
                  <a:pt x="6717" y="6717"/>
                </a:moveTo>
                <a:cubicBezTo>
                  <a:pt x="13100" y="19298"/>
                  <a:pt x="19206" y="32342"/>
                  <a:pt x="24664" y="45848"/>
                </a:cubicBezTo>
                <a:cubicBezTo>
                  <a:pt x="19113" y="32342"/>
                  <a:pt x="13007" y="19298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0" name="Freeform: Shape 589">
            <a:extLst>
              <a:ext uri="{FF2B5EF4-FFF2-40B4-BE49-F238E27FC236}">
                <a16:creationId xmlns="" xmlns:a16="http://schemas.microsoft.com/office/drawing/2014/main" id="{B761CB45-D6FF-4D20-84CC-D16AD170E570}"/>
              </a:ext>
            </a:extLst>
          </p:cNvPr>
          <p:cNvSpPr/>
          <p:nvPr/>
        </p:nvSpPr>
        <p:spPr>
          <a:xfrm>
            <a:off x="1474537" y="2030295"/>
            <a:ext cx="46255" cy="18502"/>
          </a:xfrm>
          <a:custGeom>
            <a:avLst/>
            <a:gdLst>
              <a:gd name="connsiteX0" fmla="*/ 40020 w 46254"/>
              <a:gd name="connsiteY0" fmla="*/ 6717 h 18501"/>
              <a:gd name="connsiteX1" fmla="*/ 6717 w 46254"/>
              <a:gd name="connsiteY1" fmla="*/ 12730 h 18501"/>
              <a:gd name="connsiteX2" fmla="*/ 40020 w 46254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254" h="18501">
                <a:moveTo>
                  <a:pt x="40020" y="6717"/>
                </a:moveTo>
                <a:cubicBezTo>
                  <a:pt x="29104" y="9492"/>
                  <a:pt x="18003" y="11620"/>
                  <a:pt x="6717" y="12730"/>
                </a:cubicBezTo>
                <a:cubicBezTo>
                  <a:pt x="17910" y="11620"/>
                  <a:pt x="29104" y="9585"/>
                  <a:pt x="40020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1" name="Freeform: Shape 590">
            <a:extLst>
              <a:ext uri="{FF2B5EF4-FFF2-40B4-BE49-F238E27FC236}">
                <a16:creationId xmlns="" xmlns:a16="http://schemas.microsoft.com/office/drawing/2014/main" id="{24837384-4631-4656-99FA-5CB22081E1AE}"/>
              </a:ext>
            </a:extLst>
          </p:cNvPr>
          <p:cNvSpPr/>
          <p:nvPr/>
        </p:nvSpPr>
        <p:spPr>
          <a:xfrm>
            <a:off x="1305431" y="1294479"/>
            <a:ext cx="55505" cy="111011"/>
          </a:xfrm>
          <a:custGeom>
            <a:avLst/>
            <a:gdLst>
              <a:gd name="connsiteX0" fmla="*/ 6717 w 55505"/>
              <a:gd name="connsiteY0" fmla="*/ 6717 h 111010"/>
              <a:gd name="connsiteX1" fmla="*/ 6717 w 55505"/>
              <a:gd name="connsiteY1" fmla="*/ 6717 h 111010"/>
              <a:gd name="connsiteX2" fmla="*/ 52324 w 55505"/>
              <a:gd name="connsiteY2" fmla="*/ 105054 h 111010"/>
              <a:gd name="connsiteX3" fmla="*/ 6717 w 55505"/>
              <a:gd name="connsiteY3" fmla="*/ 6717 h 111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111010">
                <a:moveTo>
                  <a:pt x="6717" y="6717"/>
                </a:moveTo>
                <a:cubicBezTo>
                  <a:pt x="6717" y="6717"/>
                  <a:pt x="6717" y="6717"/>
                  <a:pt x="6717" y="6717"/>
                </a:cubicBezTo>
                <a:cubicBezTo>
                  <a:pt x="12545" y="33452"/>
                  <a:pt x="32989" y="67033"/>
                  <a:pt x="52324" y="105054"/>
                </a:cubicBezTo>
                <a:cubicBezTo>
                  <a:pt x="32989" y="66940"/>
                  <a:pt x="12545" y="33452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2" name="Freeform: Shape 591">
            <a:extLst>
              <a:ext uri="{FF2B5EF4-FFF2-40B4-BE49-F238E27FC236}">
                <a16:creationId xmlns="" xmlns:a16="http://schemas.microsoft.com/office/drawing/2014/main" id="{C182A2FE-DDB3-4CBE-BE40-846A3F78F638}"/>
              </a:ext>
            </a:extLst>
          </p:cNvPr>
          <p:cNvSpPr/>
          <p:nvPr/>
        </p:nvSpPr>
        <p:spPr>
          <a:xfrm>
            <a:off x="359434" y="791600"/>
            <a:ext cx="37004" cy="27753"/>
          </a:xfrm>
          <a:custGeom>
            <a:avLst/>
            <a:gdLst>
              <a:gd name="connsiteX0" fmla="*/ 6717 w 37003"/>
              <a:gd name="connsiteY0" fmla="*/ 6717 h 27752"/>
              <a:gd name="connsiteX1" fmla="*/ 36135 w 37003"/>
              <a:gd name="connsiteY1" fmla="*/ 23091 h 27752"/>
              <a:gd name="connsiteX2" fmla="*/ 6717 w 37003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27752">
                <a:moveTo>
                  <a:pt x="6717" y="6717"/>
                </a:moveTo>
                <a:cubicBezTo>
                  <a:pt x="16708" y="11712"/>
                  <a:pt x="26606" y="17078"/>
                  <a:pt x="36135" y="23091"/>
                </a:cubicBezTo>
                <a:cubicBezTo>
                  <a:pt x="26606" y="17078"/>
                  <a:pt x="16708" y="11712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3" name="Freeform: Shape 592">
            <a:extLst>
              <a:ext uri="{FF2B5EF4-FFF2-40B4-BE49-F238E27FC236}">
                <a16:creationId xmlns="" xmlns:a16="http://schemas.microsoft.com/office/drawing/2014/main" id="{1F690355-7FC6-457B-85B4-873EF63F8030}"/>
              </a:ext>
            </a:extLst>
          </p:cNvPr>
          <p:cNvSpPr/>
          <p:nvPr/>
        </p:nvSpPr>
        <p:spPr>
          <a:xfrm>
            <a:off x="303558" y="767085"/>
            <a:ext cx="46255" cy="27753"/>
          </a:xfrm>
          <a:custGeom>
            <a:avLst/>
            <a:gdLst>
              <a:gd name="connsiteX0" fmla="*/ 6717 w 46254"/>
              <a:gd name="connsiteY0" fmla="*/ 6717 h 27752"/>
              <a:gd name="connsiteX1" fmla="*/ 45571 w 46254"/>
              <a:gd name="connsiteY1" fmla="*/ 23183 h 27752"/>
              <a:gd name="connsiteX2" fmla="*/ 6717 w 46254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254" h="27752">
                <a:moveTo>
                  <a:pt x="6717" y="6717"/>
                </a:moveTo>
                <a:cubicBezTo>
                  <a:pt x="19298" y="11805"/>
                  <a:pt x="32434" y="17263"/>
                  <a:pt x="45571" y="23183"/>
                </a:cubicBezTo>
                <a:cubicBezTo>
                  <a:pt x="32434" y="17170"/>
                  <a:pt x="19298" y="1180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4" name="Freeform: Shape 593">
            <a:extLst>
              <a:ext uri="{FF2B5EF4-FFF2-40B4-BE49-F238E27FC236}">
                <a16:creationId xmlns="" xmlns:a16="http://schemas.microsoft.com/office/drawing/2014/main" id="{DCF24902-63A4-461A-BFFC-6D255AED2A7F}"/>
              </a:ext>
            </a:extLst>
          </p:cNvPr>
          <p:cNvSpPr/>
          <p:nvPr/>
        </p:nvSpPr>
        <p:spPr>
          <a:xfrm>
            <a:off x="857410" y="990957"/>
            <a:ext cx="92509" cy="185018"/>
          </a:xfrm>
          <a:custGeom>
            <a:avLst/>
            <a:gdLst>
              <a:gd name="connsiteX0" fmla="*/ 93120 w 92509"/>
              <a:gd name="connsiteY0" fmla="*/ 6717 h 185017"/>
              <a:gd name="connsiteX1" fmla="*/ 93120 w 92509"/>
              <a:gd name="connsiteY1" fmla="*/ 6717 h 185017"/>
              <a:gd name="connsiteX2" fmla="*/ 6717 w 92509"/>
              <a:gd name="connsiteY2" fmla="*/ 180356 h 185017"/>
              <a:gd name="connsiteX3" fmla="*/ 93120 w 92509"/>
              <a:gd name="connsiteY3" fmla="*/ 6717 h 185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09" h="185017">
                <a:moveTo>
                  <a:pt x="93120" y="6717"/>
                </a:moveTo>
                <a:cubicBezTo>
                  <a:pt x="93120" y="6717"/>
                  <a:pt x="93028" y="6717"/>
                  <a:pt x="93120" y="6717"/>
                </a:cubicBezTo>
                <a:cubicBezTo>
                  <a:pt x="65460" y="42425"/>
                  <a:pt x="49363" y="120688"/>
                  <a:pt x="6717" y="180356"/>
                </a:cubicBezTo>
                <a:cubicBezTo>
                  <a:pt x="49363" y="120688"/>
                  <a:pt x="65460" y="42425"/>
                  <a:pt x="93120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5" name="Freeform: Shape 594">
            <a:extLst>
              <a:ext uri="{FF2B5EF4-FFF2-40B4-BE49-F238E27FC236}">
                <a16:creationId xmlns="" xmlns:a16="http://schemas.microsoft.com/office/drawing/2014/main" id="{40D6A298-E233-4242-A722-3FE33E1F7FC8}"/>
              </a:ext>
            </a:extLst>
          </p:cNvPr>
          <p:cNvSpPr/>
          <p:nvPr/>
        </p:nvSpPr>
        <p:spPr>
          <a:xfrm>
            <a:off x="1524030" y="1952865"/>
            <a:ext cx="166516" cy="83258"/>
          </a:xfrm>
          <a:custGeom>
            <a:avLst/>
            <a:gdLst>
              <a:gd name="connsiteX0" fmla="*/ 168237 w 166516"/>
              <a:gd name="connsiteY0" fmla="*/ 6717 h 83258"/>
              <a:gd name="connsiteX1" fmla="*/ 168237 w 166516"/>
              <a:gd name="connsiteY1" fmla="*/ 6717 h 83258"/>
              <a:gd name="connsiteX2" fmla="*/ 6717 w 166516"/>
              <a:gd name="connsiteY2" fmla="*/ 79429 h 83258"/>
              <a:gd name="connsiteX3" fmla="*/ 168237 w 166516"/>
              <a:gd name="connsiteY3" fmla="*/ 6717 h 8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516" h="83258">
                <a:moveTo>
                  <a:pt x="168237" y="6717"/>
                </a:moveTo>
                <a:cubicBezTo>
                  <a:pt x="168237" y="6717"/>
                  <a:pt x="168237" y="6717"/>
                  <a:pt x="168237" y="6717"/>
                </a:cubicBezTo>
                <a:cubicBezTo>
                  <a:pt x="127533" y="15598"/>
                  <a:pt x="71010" y="58522"/>
                  <a:pt x="6717" y="79429"/>
                </a:cubicBezTo>
                <a:cubicBezTo>
                  <a:pt x="71010" y="58522"/>
                  <a:pt x="127533" y="15598"/>
                  <a:pt x="16823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6" name="Freeform: Shape 595">
            <a:extLst>
              <a:ext uri="{FF2B5EF4-FFF2-40B4-BE49-F238E27FC236}">
                <a16:creationId xmlns="" xmlns:a16="http://schemas.microsoft.com/office/drawing/2014/main" id="{F8D5993E-C244-46D1-9AC5-661968F0D3E7}"/>
              </a:ext>
            </a:extLst>
          </p:cNvPr>
          <p:cNvSpPr/>
          <p:nvPr/>
        </p:nvSpPr>
        <p:spPr>
          <a:xfrm>
            <a:off x="1643551" y="1896250"/>
            <a:ext cx="9251" cy="18502"/>
          </a:xfrm>
          <a:custGeom>
            <a:avLst/>
            <a:gdLst>
              <a:gd name="connsiteX0" fmla="*/ 6717 w 9250"/>
              <a:gd name="connsiteY0" fmla="*/ 6717 h 18501"/>
              <a:gd name="connsiteX1" fmla="*/ 11342 w 9250"/>
              <a:gd name="connsiteY1" fmla="*/ 13932 h 18501"/>
              <a:gd name="connsiteX2" fmla="*/ 6717 w 9250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6717" y="6717"/>
                </a:moveTo>
                <a:cubicBezTo>
                  <a:pt x="8289" y="9122"/>
                  <a:pt x="9770" y="11620"/>
                  <a:pt x="11342" y="13932"/>
                </a:cubicBezTo>
                <a:cubicBezTo>
                  <a:pt x="9770" y="11527"/>
                  <a:pt x="8197" y="9122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7" name="Freeform: Shape 596">
            <a:extLst>
              <a:ext uri="{FF2B5EF4-FFF2-40B4-BE49-F238E27FC236}">
                <a16:creationId xmlns="" xmlns:a16="http://schemas.microsoft.com/office/drawing/2014/main" id="{48BF53C5-7636-4A37-AF30-EF48D8AEB40A}"/>
              </a:ext>
            </a:extLst>
          </p:cNvPr>
          <p:cNvSpPr/>
          <p:nvPr/>
        </p:nvSpPr>
        <p:spPr>
          <a:xfrm>
            <a:off x="1622089" y="1862484"/>
            <a:ext cx="9251" cy="9251"/>
          </a:xfrm>
          <a:custGeom>
            <a:avLst/>
            <a:gdLst>
              <a:gd name="connsiteX0" fmla="*/ 6717 w 9250"/>
              <a:gd name="connsiteY0" fmla="*/ 6717 h 9250"/>
              <a:gd name="connsiteX1" fmla="*/ 8844 w 9250"/>
              <a:gd name="connsiteY1" fmla="*/ 10047 h 9250"/>
              <a:gd name="connsiteX2" fmla="*/ 6717 w 9250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6717" y="6717"/>
                </a:moveTo>
                <a:cubicBezTo>
                  <a:pt x="7457" y="7827"/>
                  <a:pt x="8104" y="8937"/>
                  <a:pt x="8844" y="10047"/>
                </a:cubicBezTo>
                <a:cubicBezTo>
                  <a:pt x="8104" y="8937"/>
                  <a:pt x="7457" y="782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8" name="Freeform: Shape 597">
            <a:extLst>
              <a:ext uri="{FF2B5EF4-FFF2-40B4-BE49-F238E27FC236}">
                <a16:creationId xmlns="" xmlns:a16="http://schemas.microsoft.com/office/drawing/2014/main" id="{07679C8C-AD66-4E84-953B-960FBC0437A4}"/>
              </a:ext>
            </a:extLst>
          </p:cNvPr>
          <p:cNvSpPr/>
          <p:nvPr/>
        </p:nvSpPr>
        <p:spPr>
          <a:xfrm>
            <a:off x="1600905" y="1832233"/>
            <a:ext cx="18502" cy="18502"/>
          </a:xfrm>
          <a:custGeom>
            <a:avLst/>
            <a:gdLst>
              <a:gd name="connsiteX0" fmla="*/ 6717 w 18501"/>
              <a:gd name="connsiteY0" fmla="*/ 6717 h 18501"/>
              <a:gd name="connsiteX1" fmla="*/ 15505 w 18501"/>
              <a:gd name="connsiteY1" fmla="*/ 18835 h 18501"/>
              <a:gd name="connsiteX2" fmla="*/ 6717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6717"/>
                </a:moveTo>
                <a:cubicBezTo>
                  <a:pt x="9770" y="10695"/>
                  <a:pt x="12637" y="14765"/>
                  <a:pt x="15505" y="18835"/>
                </a:cubicBezTo>
                <a:cubicBezTo>
                  <a:pt x="12730" y="14765"/>
                  <a:pt x="9770" y="1069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9" name="Freeform: Shape 598">
            <a:extLst>
              <a:ext uri="{FF2B5EF4-FFF2-40B4-BE49-F238E27FC236}">
                <a16:creationId xmlns="" xmlns:a16="http://schemas.microsoft.com/office/drawing/2014/main" id="{49B7D99E-8BF2-4008-AE47-727800D9B09F}"/>
              </a:ext>
            </a:extLst>
          </p:cNvPr>
          <p:cNvSpPr/>
          <p:nvPr/>
        </p:nvSpPr>
        <p:spPr>
          <a:xfrm>
            <a:off x="1373980" y="1444251"/>
            <a:ext cx="18502" cy="37004"/>
          </a:xfrm>
          <a:custGeom>
            <a:avLst/>
            <a:gdLst>
              <a:gd name="connsiteX0" fmla="*/ 6717 w 18501"/>
              <a:gd name="connsiteY0" fmla="*/ 6717 h 37003"/>
              <a:gd name="connsiteX1" fmla="*/ 15598 w 18501"/>
              <a:gd name="connsiteY1" fmla="*/ 34655 h 37003"/>
              <a:gd name="connsiteX2" fmla="*/ 6717 w 18501"/>
              <a:gd name="connsiteY2" fmla="*/ 67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37003">
                <a:moveTo>
                  <a:pt x="6717" y="6717"/>
                </a:moveTo>
                <a:cubicBezTo>
                  <a:pt x="10140" y="15875"/>
                  <a:pt x="13192" y="25219"/>
                  <a:pt x="15598" y="34655"/>
                </a:cubicBezTo>
                <a:cubicBezTo>
                  <a:pt x="13192" y="25219"/>
                  <a:pt x="10140" y="1587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0" name="Freeform: Shape 599">
            <a:extLst>
              <a:ext uri="{FF2B5EF4-FFF2-40B4-BE49-F238E27FC236}">
                <a16:creationId xmlns="" xmlns:a16="http://schemas.microsoft.com/office/drawing/2014/main" id="{5602B7A0-D62E-441B-B929-7F222FAA7CB5}"/>
              </a:ext>
            </a:extLst>
          </p:cNvPr>
          <p:cNvSpPr/>
          <p:nvPr/>
        </p:nvSpPr>
        <p:spPr>
          <a:xfrm>
            <a:off x="1647807" y="3006727"/>
            <a:ext cx="9251" cy="27753"/>
          </a:xfrm>
          <a:custGeom>
            <a:avLst/>
            <a:gdLst>
              <a:gd name="connsiteX0" fmla="*/ 7642 w 9250"/>
              <a:gd name="connsiteY0" fmla="*/ 6717 h 27752"/>
              <a:gd name="connsiteX1" fmla="*/ 6717 w 9250"/>
              <a:gd name="connsiteY1" fmla="*/ 26329 h 27752"/>
              <a:gd name="connsiteX2" fmla="*/ 7642 w 9250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27752">
                <a:moveTo>
                  <a:pt x="7642" y="6717"/>
                </a:moveTo>
                <a:cubicBezTo>
                  <a:pt x="7549" y="13285"/>
                  <a:pt x="7179" y="19853"/>
                  <a:pt x="6717" y="26329"/>
                </a:cubicBezTo>
                <a:cubicBezTo>
                  <a:pt x="7179" y="19853"/>
                  <a:pt x="7549" y="13285"/>
                  <a:pt x="764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1" name="Freeform: Shape 600">
            <a:extLst>
              <a:ext uri="{FF2B5EF4-FFF2-40B4-BE49-F238E27FC236}">
                <a16:creationId xmlns="" xmlns:a16="http://schemas.microsoft.com/office/drawing/2014/main" id="{AB2F0D98-A01D-4A95-8877-47F44E9F85F5}"/>
              </a:ext>
            </a:extLst>
          </p:cNvPr>
          <p:cNvSpPr/>
          <p:nvPr/>
        </p:nvSpPr>
        <p:spPr>
          <a:xfrm>
            <a:off x="198098" y="3530506"/>
            <a:ext cx="64756" cy="9251"/>
          </a:xfrm>
          <a:custGeom>
            <a:avLst/>
            <a:gdLst>
              <a:gd name="connsiteX0" fmla="*/ 66663 w 64756"/>
              <a:gd name="connsiteY0" fmla="*/ 7371 h 9250"/>
              <a:gd name="connsiteX1" fmla="*/ 6717 w 64756"/>
              <a:gd name="connsiteY1" fmla="*/ 6724 h 9250"/>
              <a:gd name="connsiteX2" fmla="*/ 66663 w 64756"/>
              <a:gd name="connsiteY2" fmla="*/ 7371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756" h="9250">
                <a:moveTo>
                  <a:pt x="66663" y="7371"/>
                </a:moveTo>
                <a:cubicBezTo>
                  <a:pt x="44183" y="7464"/>
                  <a:pt x="24201" y="6631"/>
                  <a:pt x="6717" y="6724"/>
                </a:cubicBezTo>
                <a:cubicBezTo>
                  <a:pt x="24201" y="6631"/>
                  <a:pt x="44183" y="7556"/>
                  <a:pt x="66663" y="737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2" name="Freeform: Shape 601">
            <a:extLst>
              <a:ext uri="{FF2B5EF4-FFF2-40B4-BE49-F238E27FC236}">
                <a16:creationId xmlns="" xmlns:a16="http://schemas.microsoft.com/office/drawing/2014/main" id="{75DCDF74-0C34-4ABF-8F71-B7ADE0C8D4B6}"/>
              </a:ext>
            </a:extLst>
          </p:cNvPr>
          <p:cNvSpPr/>
          <p:nvPr/>
        </p:nvSpPr>
        <p:spPr>
          <a:xfrm>
            <a:off x="228904" y="3578248"/>
            <a:ext cx="18502" cy="37004"/>
          </a:xfrm>
          <a:custGeom>
            <a:avLst/>
            <a:gdLst>
              <a:gd name="connsiteX0" fmla="*/ 12452 w 18501"/>
              <a:gd name="connsiteY0" fmla="*/ 32527 h 37003"/>
              <a:gd name="connsiteX1" fmla="*/ 12452 w 18501"/>
              <a:gd name="connsiteY1" fmla="*/ 32527 h 37003"/>
              <a:gd name="connsiteX2" fmla="*/ 6717 w 18501"/>
              <a:gd name="connsiteY2" fmla="*/ 6717 h 37003"/>
              <a:gd name="connsiteX3" fmla="*/ 12452 w 18501"/>
              <a:gd name="connsiteY3" fmla="*/ 3252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37003">
                <a:moveTo>
                  <a:pt x="12452" y="32527"/>
                </a:moveTo>
                <a:cubicBezTo>
                  <a:pt x="12452" y="32527"/>
                  <a:pt x="12452" y="32527"/>
                  <a:pt x="12452" y="32527"/>
                </a:cubicBezTo>
                <a:cubicBezTo>
                  <a:pt x="12360" y="23091"/>
                  <a:pt x="10232" y="14303"/>
                  <a:pt x="6717" y="6717"/>
                </a:cubicBezTo>
                <a:cubicBezTo>
                  <a:pt x="10325" y="14303"/>
                  <a:pt x="12360" y="23091"/>
                  <a:pt x="12452" y="3252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3" name="Freeform: Shape 602">
            <a:extLst>
              <a:ext uri="{FF2B5EF4-FFF2-40B4-BE49-F238E27FC236}">
                <a16:creationId xmlns="" xmlns:a16="http://schemas.microsoft.com/office/drawing/2014/main" id="{4AC17420-2BC7-4CBD-877A-A150A3FA7F38}"/>
              </a:ext>
            </a:extLst>
          </p:cNvPr>
          <p:cNvSpPr/>
          <p:nvPr/>
        </p:nvSpPr>
        <p:spPr>
          <a:xfrm>
            <a:off x="276268" y="3620802"/>
            <a:ext cx="9251" cy="9251"/>
          </a:xfrm>
          <a:custGeom>
            <a:avLst/>
            <a:gdLst>
              <a:gd name="connsiteX0" fmla="*/ 6717 w 9250"/>
              <a:gd name="connsiteY0" fmla="*/ 6717 h 9250"/>
              <a:gd name="connsiteX1" fmla="*/ 7827 w 9250"/>
              <a:gd name="connsiteY1" fmla="*/ 8197 h 9250"/>
              <a:gd name="connsiteX2" fmla="*/ 6717 w 9250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6717" y="6717"/>
                </a:moveTo>
                <a:cubicBezTo>
                  <a:pt x="7179" y="7179"/>
                  <a:pt x="7457" y="7734"/>
                  <a:pt x="7827" y="8197"/>
                </a:cubicBezTo>
                <a:cubicBezTo>
                  <a:pt x="7457" y="7734"/>
                  <a:pt x="7179" y="7179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4" name="Freeform: Shape 603">
            <a:extLst>
              <a:ext uri="{FF2B5EF4-FFF2-40B4-BE49-F238E27FC236}">
                <a16:creationId xmlns="" xmlns:a16="http://schemas.microsoft.com/office/drawing/2014/main" id="{B9B5D25F-F894-4A0D-B9E6-9AE9ED1D4337}"/>
              </a:ext>
            </a:extLst>
          </p:cNvPr>
          <p:cNvSpPr/>
          <p:nvPr/>
        </p:nvSpPr>
        <p:spPr>
          <a:xfrm>
            <a:off x="285612" y="3703598"/>
            <a:ext cx="18502" cy="18502"/>
          </a:xfrm>
          <a:custGeom>
            <a:avLst/>
            <a:gdLst>
              <a:gd name="connsiteX0" fmla="*/ 6717 w 18501"/>
              <a:gd name="connsiteY0" fmla="*/ 13932 h 18501"/>
              <a:gd name="connsiteX1" fmla="*/ 14395 w 18501"/>
              <a:gd name="connsiteY1" fmla="*/ 6717 h 18501"/>
              <a:gd name="connsiteX2" fmla="*/ 6717 w 18501"/>
              <a:gd name="connsiteY2" fmla="*/ 13932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3932"/>
                </a:moveTo>
                <a:cubicBezTo>
                  <a:pt x="9677" y="11712"/>
                  <a:pt x="12175" y="9307"/>
                  <a:pt x="14395" y="6717"/>
                </a:cubicBezTo>
                <a:cubicBezTo>
                  <a:pt x="12267" y="9400"/>
                  <a:pt x="9677" y="11805"/>
                  <a:pt x="6717" y="1393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5" name="Freeform: Shape 604">
            <a:extLst>
              <a:ext uri="{FF2B5EF4-FFF2-40B4-BE49-F238E27FC236}">
                <a16:creationId xmlns="" xmlns:a16="http://schemas.microsoft.com/office/drawing/2014/main" id="{0C5FA19A-882A-4238-87F8-42E3F40D541B}"/>
              </a:ext>
            </a:extLst>
          </p:cNvPr>
          <p:cNvSpPr/>
          <p:nvPr/>
        </p:nvSpPr>
        <p:spPr>
          <a:xfrm>
            <a:off x="305871" y="3528756"/>
            <a:ext cx="9251" cy="157265"/>
          </a:xfrm>
          <a:custGeom>
            <a:avLst/>
            <a:gdLst>
              <a:gd name="connsiteX0" fmla="*/ 6717 w 9250"/>
              <a:gd name="connsiteY0" fmla="*/ 152048 h 157265"/>
              <a:gd name="connsiteX1" fmla="*/ 10880 w 9250"/>
              <a:gd name="connsiteY1" fmla="*/ 6717 h 157265"/>
              <a:gd name="connsiteX2" fmla="*/ 10880 w 9250"/>
              <a:gd name="connsiteY2" fmla="*/ 6717 h 157265"/>
              <a:gd name="connsiteX3" fmla="*/ 6717 w 9250"/>
              <a:gd name="connsiteY3" fmla="*/ 152048 h 157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0" h="157265">
                <a:moveTo>
                  <a:pt x="6717" y="152048"/>
                </a:moveTo>
                <a:cubicBezTo>
                  <a:pt x="12545" y="118652"/>
                  <a:pt x="4682" y="69808"/>
                  <a:pt x="10880" y="6717"/>
                </a:cubicBezTo>
                <a:cubicBezTo>
                  <a:pt x="10880" y="6717"/>
                  <a:pt x="10880" y="6717"/>
                  <a:pt x="10880" y="6717"/>
                </a:cubicBezTo>
                <a:cubicBezTo>
                  <a:pt x="4682" y="69715"/>
                  <a:pt x="12545" y="118560"/>
                  <a:pt x="6717" y="15204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6" name="Freeform: Shape 605">
            <a:extLst>
              <a:ext uri="{FF2B5EF4-FFF2-40B4-BE49-F238E27FC236}">
                <a16:creationId xmlns="" xmlns:a16="http://schemas.microsoft.com/office/drawing/2014/main" id="{046AE4DD-2330-42FD-AFCC-2C041D43B3ED}"/>
              </a:ext>
            </a:extLst>
          </p:cNvPr>
          <p:cNvSpPr/>
          <p:nvPr/>
        </p:nvSpPr>
        <p:spPr>
          <a:xfrm>
            <a:off x="293382" y="3695087"/>
            <a:ext cx="18502" cy="18502"/>
          </a:xfrm>
          <a:custGeom>
            <a:avLst/>
            <a:gdLst>
              <a:gd name="connsiteX0" fmla="*/ 12452 w 18501"/>
              <a:gd name="connsiteY0" fmla="*/ 6717 h 18501"/>
              <a:gd name="connsiteX1" fmla="*/ 6717 w 18501"/>
              <a:gd name="connsiteY1" fmla="*/ 15228 h 18501"/>
              <a:gd name="connsiteX2" fmla="*/ 12452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2452" y="6717"/>
                </a:moveTo>
                <a:cubicBezTo>
                  <a:pt x="10787" y="9770"/>
                  <a:pt x="8937" y="12637"/>
                  <a:pt x="6717" y="15228"/>
                </a:cubicBezTo>
                <a:cubicBezTo>
                  <a:pt x="8937" y="12637"/>
                  <a:pt x="10787" y="9770"/>
                  <a:pt x="1245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7" name="Freeform: Shape 606">
            <a:extLst>
              <a:ext uri="{FF2B5EF4-FFF2-40B4-BE49-F238E27FC236}">
                <a16:creationId xmlns="" xmlns:a16="http://schemas.microsoft.com/office/drawing/2014/main" id="{400069DE-8A03-47BC-A4B8-7BB2B575131A}"/>
              </a:ext>
            </a:extLst>
          </p:cNvPr>
          <p:cNvSpPr/>
          <p:nvPr/>
        </p:nvSpPr>
        <p:spPr>
          <a:xfrm>
            <a:off x="854080" y="3167416"/>
            <a:ext cx="9251" cy="9251"/>
          </a:xfrm>
          <a:custGeom>
            <a:avLst/>
            <a:gdLst>
              <a:gd name="connsiteX0" fmla="*/ 6717 w 9250"/>
              <a:gd name="connsiteY0" fmla="*/ 6717 h 9250"/>
              <a:gd name="connsiteX1" fmla="*/ 8012 w 9250"/>
              <a:gd name="connsiteY1" fmla="*/ 6902 h 9250"/>
              <a:gd name="connsiteX2" fmla="*/ 6717 w 9250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6717" y="6717"/>
                </a:moveTo>
                <a:cubicBezTo>
                  <a:pt x="7179" y="6717"/>
                  <a:pt x="7549" y="6902"/>
                  <a:pt x="8012" y="6902"/>
                </a:cubicBezTo>
                <a:cubicBezTo>
                  <a:pt x="7549" y="6809"/>
                  <a:pt x="7087" y="671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8" name="Freeform: Shape 607">
            <a:extLst>
              <a:ext uri="{FF2B5EF4-FFF2-40B4-BE49-F238E27FC236}">
                <a16:creationId xmlns="" xmlns:a16="http://schemas.microsoft.com/office/drawing/2014/main" id="{E418251A-D8D2-4767-BD69-D023B1658DE3}"/>
              </a:ext>
            </a:extLst>
          </p:cNvPr>
          <p:cNvSpPr/>
          <p:nvPr/>
        </p:nvSpPr>
        <p:spPr>
          <a:xfrm>
            <a:off x="879057" y="3175742"/>
            <a:ext cx="27753" cy="18502"/>
          </a:xfrm>
          <a:custGeom>
            <a:avLst/>
            <a:gdLst>
              <a:gd name="connsiteX0" fmla="*/ 6717 w 27752"/>
              <a:gd name="connsiteY0" fmla="*/ 6717 h 18501"/>
              <a:gd name="connsiteX1" fmla="*/ 21333 w 27752"/>
              <a:gd name="connsiteY1" fmla="*/ 19390 h 18501"/>
              <a:gd name="connsiteX2" fmla="*/ 21333 w 27752"/>
              <a:gd name="connsiteY2" fmla="*/ 19390 h 18501"/>
              <a:gd name="connsiteX3" fmla="*/ 6717 w 27752"/>
              <a:gd name="connsiteY3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18501">
                <a:moveTo>
                  <a:pt x="6717" y="6717"/>
                </a:moveTo>
                <a:cubicBezTo>
                  <a:pt x="11990" y="10047"/>
                  <a:pt x="16893" y="14302"/>
                  <a:pt x="21333" y="19390"/>
                </a:cubicBezTo>
                <a:cubicBezTo>
                  <a:pt x="21333" y="19390"/>
                  <a:pt x="21333" y="19390"/>
                  <a:pt x="21333" y="19390"/>
                </a:cubicBezTo>
                <a:cubicBezTo>
                  <a:pt x="16893" y="14302"/>
                  <a:pt x="11990" y="1004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9" name="Freeform: Shape 608">
            <a:extLst>
              <a:ext uri="{FF2B5EF4-FFF2-40B4-BE49-F238E27FC236}">
                <a16:creationId xmlns="" xmlns:a16="http://schemas.microsoft.com/office/drawing/2014/main" id="{3A0F67CB-42F1-4413-9936-F1AC233AD60B}"/>
              </a:ext>
            </a:extLst>
          </p:cNvPr>
          <p:cNvSpPr/>
          <p:nvPr/>
        </p:nvSpPr>
        <p:spPr>
          <a:xfrm>
            <a:off x="936413" y="3174631"/>
            <a:ext cx="27753" cy="18502"/>
          </a:xfrm>
          <a:custGeom>
            <a:avLst/>
            <a:gdLst>
              <a:gd name="connsiteX0" fmla="*/ 22906 w 27752"/>
              <a:gd name="connsiteY0" fmla="*/ 11805 h 18501"/>
              <a:gd name="connsiteX1" fmla="*/ 6717 w 27752"/>
              <a:gd name="connsiteY1" fmla="*/ 6717 h 18501"/>
              <a:gd name="connsiteX2" fmla="*/ 22906 w 27752"/>
              <a:gd name="connsiteY2" fmla="*/ 1180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18501">
                <a:moveTo>
                  <a:pt x="22906" y="11805"/>
                </a:moveTo>
                <a:cubicBezTo>
                  <a:pt x="17818" y="9029"/>
                  <a:pt x="12360" y="7364"/>
                  <a:pt x="6717" y="6717"/>
                </a:cubicBezTo>
                <a:cubicBezTo>
                  <a:pt x="12360" y="7364"/>
                  <a:pt x="17818" y="9029"/>
                  <a:pt x="22906" y="1180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0" name="Freeform: Shape 609">
            <a:extLst>
              <a:ext uri="{FF2B5EF4-FFF2-40B4-BE49-F238E27FC236}">
                <a16:creationId xmlns="" xmlns:a16="http://schemas.microsoft.com/office/drawing/2014/main" id="{CE166ECF-8641-46ED-B7AE-8ECA50AAD43A}"/>
              </a:ext>
            </a:extLst>
          </p:cNvPr>
          <p:cNvSpPr/>
          <p:nvPr/>
        </p:nvSpPr>
        <p:spPr>
          <a:xfrm>
            <a:off x="1218102" y="2390710"/>
            <a:ext cx="18502" cy="18502"/>
          </a:xfrm>
          <a:custGeom>
            <a:avLst/>
            <a:gdLst>
              <a:gd name="connsiteX0" fmla="*/ 6717 w 18501"/>
              <a:gd name="connsiteY0" fmla="*/ 6717 h 18501"/>
              <a:gd name="connsiteX1" fmla="*/ 16523 w 18501"/>
              <a:gd name="connsiteY1" fmla="*/ 11805 h 18501"/>
              <a:gd name="connsiteX2" fmla="*/ 6717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6717"/>
                </a:moveTo>
                <a:cubicBezTo>
                  <a:pt x="10232" y="8197"/>
                  <a:pt x="13470" y="9955"/>
                  <a:pt x="16523" y="11805"/>
                </a:cubicBezTo>
                <a:cubicBezTo>
                  <a:pt x="13470" y="9955"/>
                  <a:pt x="10232" y="819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1" name="Freeform: Shape 610">
            <a:extLst>
              <a:ext uri="{FF2B5EF4-FFF2-40B4-BE49-F238E27FC236}">
                <a16:creationId xmlns="" xmlns:a16="http://schemas.microsoft.com/office/drawing/2014/main" id="{40D1A99C-0EE6-4E6A-BFD7-41A8E98294B1}"/>
              </a:ext>
            </a:extLst>
          </p:cNvPr>
          <p:cNvSpPr/>
          <p:nvPr/>
        </p:nvSpPr>
        <p:spPr>
          <a:xfrm>
            <a:off x="1239657" y="2405974"/>
            <a:ext cx="18502" cy="18502"/>
          </a:xfrm>
          <a:custGeom>
            <a:avLst/>
            <a:gdLst>
              <a:gd name="connsiteX0" fmla="*/ 6717 w 18501"/>
              <a:gd name="connsiteY0" fmla="*/ 6717 h 18501"/>
              <a:gd name="connsiteX1" fmla="*/ 12545 w 18501"/>
              <a:gd name="connsiteY1" fmla="*/ 15598 h 18501"/>
              <a:gd name="connsiteX2" fmla="*/ 6717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6717"/>
                </a:moveTo>
                <a:cubicBezTo>
                  <a:pt x="8937" y="9400"/>
                  <a:pt x="10880" y="12267"/>
                  <a:pt x="12545" y="15598"/>
                </a:cubicBezTo>
                <a:cubicBezTo>
                  <a:pt x="10787" y="12360"/>
                  <a:pt x="8937" y="9400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2" name="Freeform: Shape 611">
            <a:extLst>
              <a:ext uri="{FF2B5EF4-FFF2-40B4-BE49-F238E27FC236}">
                <a16:creationId xmlns="" xmlns:a16="http://schemas.microsoft.com/office/drawing/2014/main" id="{C808842E-560A-4939-BD2F-FBCC1019CC1C}"/>
              </a:ext>
            </a:extLst>
          </p:cNvPr>
          <p:cNvSpPr/>
          <p:nvPr/>
        </p:nvSpPr>
        <p:spPr>
          <a:xfrm>
            <a:off x="1227909" y="2395798"/>
            <a:ext cx="18502" cy="18502"/>
          </a:xfrm>
          <a:custGeom>
            <a:avLst/>
            <a:gdLst>
              <a:gd name="connsiteX0" fmla="*/ 6717 w 18501"/>
              <a:gd name="connsiteY0" fmla="*/ 6717 h 18501"/>
              <a:gd name="connsiteX1" fmla="*/ 14950 w 18501"/>
              <a:gd name="connsiteY1" fmla="*/ 13100 h 18501"/>
              <a:gd name="connsiteX2" fmla="*/ 6717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6717"/>
                </a:moveTo>
                <a:cubicBezTo>
                  <a:pt x="9677" y="8659"/>
                  <a:pt x="12452" y="10787"/>
                  <a:pt x="14950" y="13100"/>
                </a:cubicBezTo>
                <a:cubicBezTo>
                  <a:pt x="12452" y="10787"/>
                  <a:pt x="9677" y="8659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3" name="Freeform: Shape 612">
            <a:extLst>
              <a:ext uri="{FF2B5EF4-FFF2-40B4-BE49-F238E27FC236}">
                <a16:creationId xmlns="" xmlns:a16="http://schemas.microsoft.com/office/drawing/2014/main" id="{9D6A7E85-FF78-4E0D-8F73-4D2A86B4E285}"/>
              </a:ext>
            </a:extLst>
          </p:cNvPr>
          <p:cNvSpPr/>
          <p:nvPr/>
        </p:nvSpPr>
        <p:spPr>
          <a:xfrm>
            <a:off x="1162690" y="2401071"/>
            <a:ext cx="27753" cy="9251"/>
          </a:xfrm>
          <a:custGeom>
            <a:avLst/>
            <a:gdLst>
              <a:gd name="connsiteX0" fmla="*/ 23646 w 27752"/>
              <a:gd name="connsiteY0" fmla="*/ 6717 h 9250"/>
              <a:gd name="connsiteX1" fmla="*/ 6717 w 27752"/>
              <a:gd name="connsiteY1" fmla="*/ 10140 h 9250"/>
              <a:gd name="connsiteX2" fmla="*/ 23646 w 27752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9250">
                <a:moveTo>
                  <a:pt x="23646" y="6717"/>
                </a:moveTo>
                <a:cubicBezTo>
                  <a:pt x="17633" y="6717"/>
                  <a:pt x="11990" y="7919"/>
                  <a:pt x="6717" y="10140"/>
                </a:cubicBezTo>
                <a:cubicBezTo>
                  <a:pt x="11990" y="7919"/>
                  <a:pt x="17633" y="6717"/>
                  <a:pt x="23646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4" name="Freeform: Shape 613">
            <a:extLst>
              <a:ext uri="{FF2B5EF4-FFF2-40B4-BE49-F238E27FC236}">
                <a16:creationId xmlns="" xmlns:a16="http://schemas.microsoft.com/office/drawing/2014/main" id="{07ADCB8C-D339-45D1-8AB3-388914166584}"/>
              </a:ext>
            </a:extLst>
          </p:cNvPr>
          <p:cNvSpPr/>
          <p:nvPr/>
        </p:nvSpPr>
        <p:spPr>
          <a:xfrm>
            <a:off x="1049736" y="2359257"/>
            <a:ext cx="175767" cy="138763"/>
          </a:xfrm>
          <a:custGeom>
            <a:avLst/>
            <a:gdLst>
              <a:gd name="connsiteX0" fmla="*/ 27254 w 175767"/>
              <a:gd name="connsiteY0" fmla="*/ 6717 h 138763"/>
              <a:gd name="connsiteX1" fmla="*/ 169625 w 175767"/>
              <a:gd name="connsiteY1" fmla="*/ 36042 h 138763"/>
              <a:gd name="connsiteX2" fmla="*/ 27254 w 175767"/>
              <a:gd name="connsiteY2" fmla="*/ 6717 h 138763"/>
              <a:gd name="connsiteX3" fmla="*/ 6717 w 175767"/>
              <a:gd name="connsiteY3" fmla="*/ 138080 h 138763"/>
              <a:gd name="connsiteX4" fmla="*/ 27254 w 175767"/>
              <a:gd name="connsiteY4" fmla="*/ 6717 h 13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767" h="138763">
                <a:moveTo>
                  <a:pt x="27254" y="6717"/>
                </a:moveTo>
                <a:cubicBezTo>
                  <a:pt x="88310" y="23738"/>
                  <a:pt x="137802" y="24479"/>
                  <a:pt x="169625" y="36042"/>
                </a:cubicBezTo>
                <a:cubicBezTo>
                  <a:pt x="137802" y="24479"/>
                  <a:pt x="88310" y="23738"/>
                  <a:pt x="27254" y="6717"/>
                </a:cubicBezTo>
                <a:cubicBezTo>
                  <a:pt x="22906" y="62500"/>
                  <a:pt x="9770" y="105424"/>
                  <a:pt x="6717" y="138080"/>
                </a:cubicBezTo>
                <a:cubicBezTo>
                  <a:pt x="9770" y="105424"/>
                  <a:pt x="22906" y="62500"/>
                  <a:pt x="27254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5" name="Freeform: Shape 614">
            <a:extLst>
              <a:ext uri="{FF2B5EF4-FFF2-40B4-BE49-F238E27FC236}">
                <a16:creationId xmlns="" xmlns:a16="http://schemas.microsoft.com/office/drawing/2014/main" id="{CFAB56DD-91EF-47F8-A03B-53D6F6ABB519}"/>
              </a:ext>
            </a:extLst>
          </p:cNvPr>
          <p:cNvSpPr/>
          <p:nvPr/>
        </p:nvSpPr>
        <p:spPr>
          <a:xfrm>
            <a:off x="1049089" y="2490620"/>
            <a:ext cx="9251" cy="18502"/>
          </a:xfrm>
          <a:custGeom>
            <a:avLst/>
            <a:gdLst>
              <a:gd name="connsiteX0" fmla="*/ 6717 w 9250"/>
              <a:gd name="connsiteY0" fmla="*/ 19205 h 18501"/>
              <a:gd name="connsiteX1" fmla="*/ 7364 w 9250"/>
              <a:gd name="connsiteY1" fmla="*/ 6717 h 18501"/>
              <a:gd name="connsiteX2" fmla="*/ 6717 w 9250"/>
              <a:gd name="connsiteY2" fmla="*/ 1920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6717" y="19205"/>
                </a:moveTo>
                <a:cubicBezTo>
                  <a:pt x="6717" y="15227"/>
                  <a:pt x="6994" y="11065"/>
                  <a:pt x="7364" y="6717"/>
                </a:cubicBezTo>
                <a:cubicBezTo>
                  <a:pt x="6902" y="11065"/>
                  <a:pt x="6717" y="15227"/>
                  <a:pt x="6717" y="1920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6" name="Freeform: Shape 615">
            <a:extLst>
              <a:ext uri="{FF2B5EF4-FFF2-40B4-BE49-F238E27FC236}">
                <a16:creationId xmlns="" xmlns:a16="http://schemas.microsoft.com/office/drawing/2014/main" id="{7BE21FD3-B202-4A83-B6D0-55BDC1D628C8}"/>
              </a:ext>
            </a:extLst>
          </p:cNvPr>
          <p:cNvSpPr/>
          <p:nvPr/>
        </p:nvSpPr>
        <p:spPr>
          <a:xfrm>
            <a:off x="1111995" y="2445569"/>
            <a:ext cx="27753" cy="9251"/>
          </a:xfrm>
          <a:custGeom>
            <a:avLst/>
            <a:gdLst>
              <a:gd name="connsiteX0" fmla="*/ 6717 w 27752"/>
              <a:gd name="connsiteY0" fmla="*/ 7271 h 9250"/>
              <a:gd name="connsiteX1" fmla="*/ 26051 w 27752"/>
              <a:gd name="connsiteY1" fmla="*/ 7641 h 9250"/>
              <a:gd name="connsiteX2" fmla="*/ 26051 w 27752"/>
              <a:gd name="connsiteY2" fmla="*/ 7641 h 9250"/>
              <a:gd name="connsiteX3" fmla="*/ 6717 w 27752"/>
              <a:gd name="connsiteY3" fmla="*/ 7271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9250">
                <a:moveTo>
                  <a:pt x="6717" y="7271"/>
                </a:moveTo>
                <a:cubicBezTo>
                  <a:pt x="12915" y="6438"/>
                  <a:pt x="19391" y="6531"/>
                  <a:pt x="26051" y="7641"/>
                </a:cubicBezTo>
                <a:cubicBezTo>
                  <a:pt x="26051" y="7641"/>
                  <a:pt x="26051" y="7641"/>
                  <a:pt x="26051" y="7641"/>
                </a:cubicBezTo>
                <a:cubicBezTo>
                  <a:pt x="19391" y="6531"/>
                  <a:pt x="12915" y="6438"/>
                  <a:pt x="6717" y="727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7" name="Freeform: Shape 616">
            <a:extLst>
              <a:ext uri="{FF2B5EF4-FFF2-40B4-BE49-F238E27FC236}">
                <a16:creationId xmlns="" xmlns:a16="http://schemas.microsoft.com/office/drawing/2014/main" id="{C731A265-AB1A-4C6D-8013-4FD618C36782}"/>
              </a:ext>
            </a:extLst>
          </p:cNvPr>
          <p:cNvSpPr/>
          <p:nvPr/>
        </p:nvSpPr>
        <p:spPr>
          <a:xfrm>
            <a:off x="815873" y="1725293"/>
            <a:ext cx="27753" cy="27753"/>
          </a:xfrm>
          <a:custGeom>
            <a:avLst/>
            <a:gdLst>
              <a:gd name="connsiteX0" fmla="*/ 6717 w 27752"/>
              <a:gd name="connsiteY0" fmla="*/ 26144 h 27752"/>
              <a:gd name="connsiteX1" fmla="*/ 27346 w 27752"/>
              <a:gd name="connsiteY1" fmla="*/ 6717 h 27752"/>
              <a:gd name="connsiteX2" fmla="*/ 27346 w 27752"/>
              <a:gd name="connsiteY2" fmla="*/ 6717 h 27752"/>
              <a:gd name="connsiteX3" fmla="*/ 6717 w 27752"/>
              <a:gd name="connsiteY3" fmla="*/ 26144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27752">
                <a:moveTo>
                  <a:pt x="6717" y="26144"/>
                </a:moveTo>
                <a:cubicBezTo>
                  <a:pt x="11620" y="18650"/>
                  <a:pt x="18650" y="11897"/>
                  <a:pt x="27346" y="6717"/>
                </a:cubicBezTo>
                <a:cubicBezTo>
                  <a:pt x="27346" y="6717"/>
                  <a:pt x="27346" y="6717"/>
                  <a:pt x="27346" y="6717"/>
                </a:cubicBezTo>
                <a:cubicBezTo>
                  <a:pt x="18650" y="11990"/>
                  <a:pt x="11620" y="18650"/>
                  <a:pt x="6717" y="2614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8" name="Freeform: Shape 617">
            <a:extLst>
              <a:ext uri="{FF2B5EF4-FFF2-40B4-BE49-F238E27FC236}">
                <a16:creationId xmlns="" xmlns:a16="http://schemas.microsoft.com/office/drawing/2014/main" id="{79468A35-EA35-4674-BAD0-EFA1F19657A1}"/>
              </a:ext>
            </a:extLst>
          </p:cNvPr>
          <p:cNvSpPr/>
          <p:nvPr/>
        </p:nvSpPr>
        <p:spPr>
          <a:xfrm>
            <a:off x="733633" y="1628714"/>
            <a:ext cx="138764" cy="74007"/>
          </a:xfrm>
          <a:custGeom>
            <a:avLst/>
            <a:gdLst>
              <a:gd name="connsiteX0" fmla="*/ 6717 w 138763"/>
              <a:gd name="connsiteY0" fmla="*/ 75821 h 74007"/>
              <a:gd name="connsiteX1" fmla="*/ 6717 w 138763"/>
              <a:gd name="connsiteY1" fmla="*/ 75821 h 74007"/>
              <a:gd name="connsiteX2" fmla="*/ 134657 w 138763"/>
              <a:gd name="connsiteY2" fmla="*/ 6717 h 74007"/>
              <a:gd name="connsiteX3" fmla="*/ 6717 w 138763"/>
              <a:gd name="connsiteY3" fmla="*/ 75821 h 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763" h="74007">
                <a:moveTo>
                  <a:pt x="6717" y="75821"/>
                </a:moveTo>
                <a:cubicBezTo>
                  <a:pt x="6717" y="75821"/>
                  <a:pt x="6717" y="75821"/>
                  <a:pt x="6717" y="75821"/>
                </a:cubicBezTo>
                <a:cubicBezTo>
                  <a:pt x="64442" y="49548"/>
                  <a:pt x="102741" y="18373"/>
                  <a:pt x="134657" y="6717"/>
                </a:cubicBezTo>
                <a:cubicBezTo>
                  <a:pt x="102834" y="18373"/>
                  <a:pt x="64442" y="49548"/>
                  <a:pt x="6717" y="7582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9" name="Freeform: Shape 618">
            <a:extLst>
              <a:ext uri="{FF2B5EF4-FFF2-40B4-BE49-F238E27FC236}">
                <a16:creationId xmlns="" xmlns:a16="http://schemas.microsoft.com/office/drawing/2014/main" id="{93921A74-3A52-4BEE-A5AE-681C50EA7E87}"/>
              </a:ext>
            </a:extLst>
          </p:cNvPr>
          <p:cNvSpPr/>
          <p:nvPr/>
        </p:nvSpPr>
        <p:spPr>
          <a:xfrm>
            <a:off x="872581" y="1624088"/>
            <a:ext cx="18502" cy="9251"/>
          </a:xfrm>
          <a:custGeom>
            <a:avLst/>
            <a:gdLst>
              <a:gd name="connsiteX0" fmla="*/ 6717 w 18501"/>
              <a:gd name="connsiteY0" fmla="*/ 8104 h 9250"/>
              <a:gd name="connsiteX1" fmla="*/ 17263 w 18501"/>
              <a:gd name="connsiteY1" fmla="*/ 6717 h 9250"/>
              <a:gd name="connsiteX2" fmla="*/ 6717 w 18501"/>
              <a:gd name="connsiteY2" fmla="*/ 8104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6717" y="8104"/>
                </a:moveTo>
                <a:cubicBezTo>
                  <a:pt x="10325" y="7272"/>
                  <a:pt x="13840" y="6809"/>
                  <a:pt x="17263" y="6717"/>
                </a:cubicBezTo>
                <a:cubicBezTo>
                  <a:pt x="13840" y="6809"/>
                  <a:pt x="10325" y="7272"/>
                  <a:pt x="6717" y="810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0" name="Freeform: Shape 619">
            <a:extLst>
              <a:ext uri="{FF2B5EF4-FFF2-40B4-BE49-F238E27FC236}">
                <a16:creationId xmlns="" xmlns:a16="http://schemas.microsoft.com/office/drawing/2014/main" id="{68D2EB1E-5E21-48A4-AF3F-F65C4D72C40E}"/>
              </a:ext>
            </a:extLst>
          </p:cNvPr>
          <p:cNvSpPr/>
          <p:nvPr/>
        </p:nvSpPr>
        <p:spPr>
          <a:xfrm>
            <a:off x="755372" y="1730936"/>
            <a:ext cx="9251" cy="9251"/>
          </a:xfrm>
          <a:custGeom>
            <a:avLst/>
            <a:gdLst>
              <a:gd name="connsiteX0" fmla="*/ 9215 w 9250"/>
              <a:gd name="connsiteY0" fmla="*/ 10787 h 9250"/>
              <a:gd name="connsiteX1" fmla="*/ 6717 w 9250"/>
              <a:gd name="connsiteY1" fmla="*/ 6717 h 9250"/>
              <a:gd name="connsiteX2" fmla="*/ 9215 w 9250"/>
              <a:gd name="connsiteY2" fmla="*/ 1078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9215" y="10787"/>
                </a:moveTo>
                <a:cubicBezTo>
                  <a:pt x="8382" y="9399"/>
                  <a:pt x="7549" y="8104"/>
                  <a:pt x="6717" y="6717"/>
                </a:cubicBezTo>
                <a:cubicBezTo>
                  <a:pt x="7549" y="8012"/>
                  <a:pt x="8382" y="9399"/>
                  <a:pt x="9215" y="1078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1" name="Freeform: Shape 620">
            <a:extLst>
              <a:ext uri="{FF2B5EF4-FFF2-40B4-BE49-F238E27FC236}">
                <a16:creationId xmlns="" xmlns:a16="http://schemas.microsoft.com/office/drawing/2014/main" id="{53253213-6494-4C66-940E-C5C8509C2290}"/>
              </a:ext>
            </a:extLst>
          </p:cNvPr>
          <p:cNvSpPr/>
          <p:nvPr/>
        </p:nvSpPr>
        <p:spPr>
          <a:xfrm>
            <a:off x="738073" y="1704108"/>
            <a:ext cx="9251" cy="18502"/>
          </a:xfrm>
          <a:custGeom>
            <a:avLst/>
            <a:gdLst>
              <a:gd name="connsiteX0" fmla="*/ 10602 w 9250"/>
              <a:gd name="connsiteY0" fmla="*/ 12452 h 18501"/>
              <a:gd name="connsiteX1" fmla="*/ 6717 w 9250"/>
              <a:gd name="connsiteY1" fmla="*/ 6717 h 18501"/>
              <a:gd name="connsiteX2" fmla="*/ 10602 w 9250"/>
              <a:gd name="connsiteY2" fmla="*/ 12452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10602" y="12452"/>
                </a:moveTo>
                <a:cubicBezTo>
                  <a:pt x="9307" y="10510"/>
                  <a:pt x="8012" y="8659"/>
                  <a:pt x="6717" y="6717"/>
                </a:cubicBezTo>
                <a:cubicBezTo>
                  <a:pt x="8012" y="8659"/>
                  <a:pt x="9307" y="10510"/>
                  <a:pt x="10602" y="1245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2" name="Freeform: Shape 621">
            <a:extLst>
              <a:ext uri="{FF2B5EF4-FFF2-40B4-BE49-F238E27FC236}">
                <a16:creationId xmlns="" xmlns:a16="http://schemas.microsoft.com/office/drawing/2014/main" id="{FA5CE710-9B11-4F84-B2BA-5516B6987A30}"/>
              </a:ext>
            </a:extLst>
          </p:cNvPr>
          <p:cNvSpPr/>
          <p:nvPr/>
        </p:nvSpPr>
        <p:spPr>
          <a:xfrm>
            <a:off x="832247" y="1665810"/>
            <a:ext cx="18502" cy="18502"/>
          </a:xfrm>
          <a:custGeom>
            <a:avLst/>
            <a:gdLst>
              <a:gd name="connsiteX0" fmla="*/ 12637 w 18501"/>
              <a:gd name="connsiteY0" fmla="*/ 6717 h 18501"/>
              <a:gd name="connsiteX1" fmla="*/ 6717 w 18501"/>
              <a:gd name="connsiteY1" fmla="*/ 17078 h 18501"/>
              <a:gd name="connsiteX2" fmla="*/ 12637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2637" y="6717"/>
                </a:moveTo>
                <a:cubicBezTo>
                  <a:pt x="10140" y="9862"/>
                  <a:pt x="8289" y="13377"/>
                  <a:pt x="6717" y="17078"/>
                </a:cubicBezTo>
                <a:cubicBezTo>
                  <a:pt x="8197" y="13470"/>
                  <a:pt x="10047" y="9862"/>
                  <a:pt x="1263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3" name="Freeform: Shape 622">
            <a:extLst>
              <a:ext uri="{FF2B5EF4-FFF2-40B4-BE49-F238E27FC236}">
                <a16:creationId xmlns="" xmlns:a16="http://schemas.microsoft.com/office/drawing/2014/main" id="{4D47768A-E483-45CC-8561-558611212107}"/>
              </a:ext>
            </a:extLst>
          </p:cNvPr>
          <p:cNvSpPr/>
          <p:nvPr/>
        </p:nvSpPr>
        <p:spPr>
          <a:xfrm>
            <a:off x="784328" y="1781724"/>
            <a:ext cx="18502" cy="27753"/>
          </a:xfrm>
          <a:custGeom>
            <a:avLst/>
            <a:gdLst>
              <a:gd name="connsiteX0" fmla="*/ 15043 w 18501"/>
              <a:gd name="connsiteY0" fmla="*/ 21333 h 27752"/>
              <a:gd name="connsiteX1" fmla="*/ 6717 w 18501"/>
              <a:gd name="connsiteY1" fmla="*/ 6717 h 27752"/>
              <a:gd name="connsiteX2" fmla="*/ 15043 w 18501"/>
              <a:gd name="connsiteY2" fmla="*/ 21333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27752">
                <a:moveTo>
                  <a:pt x="15043" y="21333"/>
                </a:moveTo>
                <a:cubicBezTo>
                  <a:pt x="12267" y="16708"/>
                  <a:pt x="9492" y="11805"/>
                  <a:pt x="6717" y="6717"/>
                </a:cubicBezTo>
                <a:cubicBezTo>
                  <a:pt x="9585" y="11805"/>
                  <a:pt x="12360" y="16708"/>
                  <a:pt x="15043" y="2133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4" name="Freeform: Shape 623">
            <a:extLst>
              <a:ext uri="{FF2B5EF4-FFF2-40B4-BE49-F238E27FC236}">
                <a16:creationId xmlns="" xmlns:a16="http://schemas.microsoft.com/office/drawing/2014/main" id="{374663C0-4B8E-475F-8A76-BBF3100541D5}"/>
              </a:ext>
            </a:extLst>
          </p:cNvPr>
          <p:cNvSpPr/>
          <p:nvPr/>
        </p:nvSpPr>
        <p:spPr>
          <a:xfrm>
            <a:off x="811710" y="1751103"/>
            <a:ext cx="9251" cy="9251"/>
          </a:xfrm>
          <a:custGeom>
            <a:avLst/>
            <a:gdLst>
              <a:gd name="connsiteX0" fmla="*/ 7457 w 9250"/>
              <a:gd name="connsiteY0" fmla="*/ 6717 h 9250"/>
              <a:gd name="connsiteX1" fmla="*/ 6717 w 9250"/>
              <a:gd name="connsiteY1" fmla="*/ 8104 h 9250"/>
              <a:gd name="connsiteX2" fmla="*/ 7457 w 9250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7457" y="6717"/>
                </a:moveTo>
                <a:cubicBezTo>
                  <a:pt x="7272" y="7179"/>
                  <a:pt x="6902" y="7642"/>
                  <a:pt x="6717" y="8104"/>
                </a:cubicBezTo>
                <a:cubicBezTo>
                  <a:pt x="6902" y="7642"/>
                  <a:pt x="7179" y="7179"/>
                  <a:pt x="745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5" name="Freeform: Shape 624">
            <a:extLst>
              <a:ext uri="{FF2B5EF4-FFF2-40B4-BE49-F238E27FC236}">
                <a16:creationId xmlns="" xmlns:a16="http://schemas.microsoft.com/office/drawing/2014/main" id="{553EA759-8130-4467-9370-691BC13A21BA}"/>
              </a:ext>
            </a:extLst>
          </p:cNvPr>
          <p:cNvSpPr/>
          <p:nvPr/>
        </p:nvSpPr>
        <p:spPr>
          <a:xfrm>
            <a:off x="806067" y="1816784"/>
            <a:ext cx="18502" cy="18502"/>
          </a:xfrm>
          <a:custGeom>
            <a:avLst/>
            <a:gdLst>
              <a:gd name="connsiteX0" fmla="*/ 14395 w 18501"/>
              <a:gd name="connsiteY0" fmla="*/ 15875 h 18501"/>
              <a:gd name="connsiteX1" fmla="*/ 6717 w 18501"/>
              <a:gd name="connsiteY1" fmla="*/ 6717 h 18501"/>
              <a:gd name="connsiteX2" fmla="*/ 14395 w 18501"/>
              <a:gd name="connsiteY2" fmla="*/ 1587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4395" y="15875"/>
                </a:moveTo>
                <a:cubicBezTo>
                  <a:pt x="11805" y="13100"/>
                  <a:pt x="9214" y="10047"/>
                  <a:pt x="6717" y="6717"/>
                </a:cubicBezTo>
                <a:cubicBezTo>
                  <a:pt x="9214" y="10047"/>
                  <a:pt x="11805" y="13100"/>
                  <a:pt x="14395" y="1587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6" name="Freeform: Shape 625">
            <a:extLst>
              <a:ext uri="{FF2B5EF4-FFF2-40B4-BE49-F238E27FC236}">
                <a16:creationId xmlns="" xmlns:a16="http://schemas.microsoft.com/office/drawing/2014/main" id="{71C27EF3-F7CB-4D84-A938-89152E0236D7}"/>
              </a:ext>
            </a:extLst>
          </p:cNvPr>
          <p:cNvSpPr/>
          <p:nvPr/>
        </p:nvSpPr>
        <p:spPr>
          <a:xfrm>
            <a:off x="772117" y="1759706"/>
            <a:ext cx="18502" cy="18502"/>
          </a:xfrm>
          <a:custGeom>
            <a:avLst/>
            <a:gdLst>
              <a:gd name="connsiteX0" fmla="*/ 13100 w 18501"/>
              <a:gd name="connsiteY0" fmla="*/ 18280 h 18501"/>
              <a:gd name="connsiteX1" fmla="*/ 6717 w 18501"/>
              <a:gd name="connsiteY1" fmla="*/ 6717 h 18501"/>
              <a:gd name="connsiteX2" fmla="*/ 13100 w 18501"/>
              <a:gd name="connsiteY2" fmla="*/ 1828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3100" y="18280"/>
                </a:moveTo>
                <a:cubicBezTo>
                  <a:pt x="11065" y="14487"/>
                  <a:pt x="8937" y="10695"/>
                  <a:pt x="6717" y="6717"/>
                </a:cubicBezTo>
                <a:cubicBezTo>
                  <a:pt x="8937" y="10695"/>
                  <a:pt x="11065" y="14487"/>
                  <a:pt x="13100" y="1828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7" name="Freeform: Shape 626">
            <a:extLst>
              <a:ext uri="{FF2B5EF4-FFF2-40B4-BE49-F238E27FC236}">
                <a16:creationId xmlns="" xmlns:a16="http://schemas.microsoft.com/office/drawing/2014/main" id="{B5D42B3D-B2FC-4D15-A13B-5D5CBD73718D}"/>
              </a:ext>
            </a:extLst>
          </p:cNvPr>
          <p:cNvSpPr/>
          <p:nvPr/>
        </p:nvSpPr>
        <p:spPr>
          <a:xfrm>
            <a:off x="107254" y="1258585"/>
            <a:ext cx="18502" cy="18502"/>
          </a:xfrm>
          <a:custGeom>
            <a:avLst/>
            <a:gdLst>
              <a:gd name="connsiteX0" fmla="*/ 6717 w 18501"/>
              <a:gd name="connsiteY0" fmla="*/ 15413 h 18501"/>
              <a:gd name="connsiteX1" fmla="*/ 13470 w 18501"/>
              <a:gd name="connsiteY1" fmla="*/ 6717 h 18501"/>
              <a:gd name="connsiteX2" fmla="*/ 6717 w 18501"/>
              <a:gd name="connsiteY2" fmla="*/ 15413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5413"/>
                </a:moveTo>
                <a:cubicBezTo>
                  <a:pt x="8844" y="12267"/>
                  <a:pt x="11065" y="9307"/>
                  <a:pt x="13470" y="6717"/>
                </a:cubicBezTo>
                <a:cubicBezTo>
                  <a:pt x="11065" y="9307"/>
                  <a:pt x="8844" y="12267"/>
                  <a:pt x="6717" y="1541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8" name="Freeform: Shape 627">
            <a:extLst>
              <a:ext uri="{FF2B5EF4-FFF2-40B4-BE49-F238E27FC236}">
                <a16:creationId xmlns="" xmlns:a16="http://schemas.microsoft.com/office/drawing/2014/main" id="{7B90E5F5-975D-41DA-8AF8-7AB484CA72A9}"/>
              </a:ext>
            </a:extLst>
          </p:cNvPr>
          <p:cNvSpPr/>
          <p:nvPr/>
        </p:nvSpPr>
        <p:spPr>
          <a:xfrm>
            <a:off x="143425" y="1362473"/>
            <a:ext cx="9251" cy="27753"/>
          </a:xfrm>
          <a:custGeom>
            <a:avLst/>
            <a:gdLst>
              <a:gd name="connsiteX0" fmla="*/ 6717 w 9250"/>
              <a:gd name="connsiteY0" fmla="*/ 25681 h 27752"/>
              <a:gd name="connsiteX1" fmla="*/ 10417 w 9250"/>
              <a:gd name="connsiteY1" fmla="*/ 6717 h 27752"/>
              <a:gd name="connsiteX2" fmla="*/ 10417 w 9250"/>
              <a:gd name="connsiteY2" fmla="*/ 6717 h 27752"/>
              <a:gd name="connsiteX3" fmla="*/ 6717 w 9250"/>
              <a:gd name="connsiteY3" fmla="*/ 25681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0" h="27752">
                <a:moveTo>
                  <a:pt x="6717" y="25681"/>
                </a:moveTo>
                <a:cubicBezTo>
                  <a:pt x="6994" y="19483"/>
                  <a:pt x="8197" y="13100"/>
                  <a:pt x="10417" y="6717"/>
                </a:cubicBezTo>
                <a:cubicBezTo>
                  <a:pt x="10417" y="6717"/>
                  <a:pt x="10417" y="6717"/>
                  <a:pt x="10417" y="6717"/>
                </a:cubicBezTo>
                <a:cubicBezTo>
                  <a:pt x="8197" y="13100"/>
                  <a:pt x="6994" y="19483"/>
                  <a:pt x="6717" y="2568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9" name="Freeform: Shape 628">
            <a:extLst>
              <a:ext uri="{FF2B5EF4-FFF2-40B4-BE49-F238E27FC236}">
                <a16:creationId xmlns="" xmlns:a16="http://schemas.microsoft.com/office/drawing/2014/main" id="{B7BE61C5-F2F9-413B-AB61-0EEB01D32371}"/>
              </a:ext>
            </a:extLst>
          </p:cNvPr>
          <p:cNvSpPr/>
          <p:nvPr/>
        </p:nvSpPr>
        <p:spPr>
          <a:xfrm>
            <a:off x="182649" y="1452021"/>
            <a:ext cx="18502" cy="9251"/>
          </a:xfrm>
          <a:custGeom>
            <a:avLst/>
            <a:gdLst>
              <a:gd name="connsiteX0" fmla="*/ 18465 w 18501"/>
              <a:gd name="connsiteY0" fmla="*/ 8844 h 9250"/>
              <a:gd name="connsiteX1" fmla="*/ 6717 w 18501"/>
              <a:gd name="connsiteY1" fmla="*/ 6717 h 9250"/>
              <a:gd name="connsiteX2" fmla="*/ 18465 w 18501"/>
              <a:gd name="connsiteY2" fmla="*/ 8844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18465" y="8844"/>
                </a:moveTo>
                <a:cubicBezTo>
                  <a:pt x="14673" y="8382"/>
                  <a:pt x="10787" y="7734"/>
                  <a:pt x="6717" y="6717"/>
                </a:cubicBezTo>
                <a:cubicBezTo>
                  <a:pt x="10695" y="7734"/>
                  <a:pt x="14673" y="8382"/>
                  <a:pt x="18465" y="884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0" name="Freeform: Shape 629">
            <a:extLst>
              <a:ext uri="{FF2B5EF4-FFF2-40B4-BE49-F238E27FC236}">
                <a16:creationId xmlns="" xmlns:a16="http://schemas.microsoft.com/office/drawing/2014/main" id="{DE1D30B5-0DAE-4C76-AB5A-54CFEA96A1BC}"/>
              </a:ext>
            </a:extLst>
          </p:cNvPr>
          <p:cNvSpPr/>
          <p:nvPr/>
        </p:nvSpPr>
        <p:spPr>
          <a:xfrm>
            <a:off x="50639" y="1267281"/>
            <a:ext cx="74007" cy="166516"/>
          </a:xfrm>
          <a:custGeom>
            <a:avLst/>
            <a:gdLst>
              <a:gd name="connsiteX0" fmla="*/ 63332 w 74007"/>
              <a:gd name="connsiteY0" fmla="*/ 6717 h 166516"/>
              <a:gd name="connsiteX1" fmla="*/ 6717 w 74007"/>
              <a:gd name="connsiteY1" fmla="*/ 146868 h 166516"/>
              <a:gd name="connsiteX2" fmla="*/ 68143 w 74007"/>
              <a:gd name="connsiteY2" fmla="*/ 166665 h 166516"/>
              <a:gd name="connsiteX3" fmla="*/ 6717 w 74007"/>
              <a:gd name="connsiteY3" fmla="*/ 146868 h 166516"/>
              <a:gd name="connsiteX4" fmla="*/ 63332 w 74007"/>
              <a:gd name="connsiteY4" fmla="*/ 6717 h 166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007" h="166516">
                <a:moveTo>
                  <a:pt x="63332" y="6717"/>
                </a:moveTo>
                <a:cubicBezTo>
                  <a:pt x="44368" y="35394"/>
                  <a:pt x="35580" y="86367"/>
                  <a:pt x="6717" y="146868"/>
                </a:cubicBezTo>
                <a:cubicBezTo>
                  <a:pt x="29566" y="152788"/>
                  <a:pt x="49918" y="159819"/>
                  <a:pt x="68143" y="166665"/>
                </a:cubicBezTo>
                <a:cubicBezTo>
                  <a:pt x="49918" y="159819"/>
                  <a:pt x="29566" y="152788"/>
                  <a:pt x="6717" y="146868"/>
                </a:cubicBezTo>
                <a:cubicBezTo>
                  <a:pt x="35580" y="86367"/>
                  <a:pt x="44368" y="35487"/>
                  <a:pt x="6333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1" name="Freeform: Shape 630">
            <a:extLst>
              <a:ext uri="{FF2B5EF4-FFF2-40B4-BE49-F238E27FC236}">
                <a16:creationId xmlns="" xmlns:a16="http://schemas.microsoft.com/office/drawing/2014/main" id="{E3AD7C1A-5045-464B-B064-E531E0D89DC9}"/>
              </a:ext>
            </a:extLst>
          </p:cNvPr>
          <p:cNvSpPr/>
          <p:nvPr/>
        </p:nvSpPr>
        <p:spPr>
          <a:xfrm>
            <a:off x="122888" y="1431299"/>
            <a:ext cx="46255" cy="18502"/>
          </a:xfrm>
          <a:custGeom>
            <a:avLst/>
            <a:gdLst>
              <a:gd name="connsiteX0" fmla="*/ 43813 w 46254"/>
              <a:gd name="connsiteY0" fmla="*/ 20686 h 18501"/>
              <a:gd name="connsiteX1" fmla="*/ 6717 w 46254"/>
              <a:gd name="connsiteY1" fmla="*/ 6717 h 18501"/>
              <a:gd name="connsiteX2" fmla="*/ 43813 w 46254"/>
              <a:gd name="connsiteY2" fmla="*/ 20686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254" h="18501">
                <a:moveTo>
                  <a:pt x="43813" y="20686"/>
                </a:moveTo>
                <a:cubicBezTo>
                  <a:pt x="32527" y="16708"/>
                  <a:pt x="20223" y="11897"/>
                  <a:pt x="6717" y="6717"/>
                </a:cubicBezTo>
                <a:cubicBezTo>
                  <a:pt x="20223" y="11897"/>
                  <a:pt x="32434" y="16708"/>
                  <a:pt x="43813" y="20686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2" name="Freeform: Shape 631">
            <a:extLst>
              <a:ext uri="{FF2B5EF4-FFF2-40B4-BE49-F238E27FC236}">
                <a16:creationId xmlns="" xmlns:a16="http://schemas.microsoft.com/office/drawing/2014/main" id="{1FA05750-F1CB-446A-A0EB-3631E54767CF}"/>
              </a:ext>
            </a:extLst>
          </p:cNvPr>
          <p:cNvSpPr/>
          <p:nvPr/>
        </p:nvSpPr>
        <p:spPr>
          <a:xfrm>
            <a:off x="121778" y="1244616"/>
            <a:ext cx="18502" cy="18502"/>
          </a:xfrm>
          <a:custGeom>
            <a:avLst/>
            <a:gdLst>
              <a:gd name="connsiteX0" fmla="*/ 6717 w 18501"/>
              <a:gd name="connsiteY0" fmla="*/ 13655 h 18501"/>
              <a:gd name="connsiteX1" fmla="*/ 20778 w 18501"/>
              <a:gd name="connsiteY1" fmla="*/ 6717 h 18501"/>
              <a:gd name="connsiteX2" fmla="*/ 6717 w 18501"/>
              <a:gd name="connsiteY2" fmla="*/ 1365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3655"/>
                </a:moveTo>
                <a:cubicBezTo>
                  <a:pt x="10880" y="10602"/>
                  <a:pt x="15505" y="8290"/>
                  <a:pt x="20778" y="6717"/>
                </a:cubicBezTo>
                <a:cubicBezTo>
                  <a:pt x="15505" y="8290"/>
                  <a:pt x="10880" y="10695"/>
                  <a:pt x="6717" y="1365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3" name="Freeform: Shape 632">
            <a:extLst>
              <a:ext uri="{FF2B5EF4-FFF2-40B4-BE49-F238E27FC236}">
                <a16:creationId xmlns="" xmlns:a16="http://schemas.microsoft.com/office/drawing/2014/main" id="{863B5965-C45D-4EB9-B803-E02942BFDD4F}"/>
              </a:ext>
            </a:extLst>
          </p:cNvPr>
          <p:cNvSpPr/>
          <p:nvPr/>
        </p:nvSpPr>
        <p:spPr>
          <a:xfrm>
            <a:off x="167755" y="1447858"/>
            <a:ext cx="9251" cy="9251"/>
          </a:xfrm>
          <a:custGeom>
            <a:avLst/>
            <a:gdLst>
              <a:gd name="connsiteX0" fmla="*/ 10787 w 9250"/>
              <a:gd name="connsiteY0" fmla="*/ 8012 h 9250"/>
              <a:gd name="connsiteX1" fmla="*/ 6717 w 9250"/>
              <a:gd name="connsiteY1" fmla="*/ 6717 h 9250"/>
              <a:gd name="connsiteX2" fmla="*/ 10787 w 9250"/>
              <a:gd name="connsiteY2" fmla="*/ 8012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10787" y="8012"/>
                </a:moveTo>
                <a:cubicBezTo>
                  <a:pt x="9492" y="7642"/>
                  <a:pt x="8104" y="7179"/>
                  <a:pt x="6717" y="6717"/>
                </a:cubicBezTo>
                <a:cubicBezTo>
                  <a:pt x="8104" y="7179"/>
                  <a:pt x="9492" y="7642"/>
                  <a:pt x="10787" y="801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4" name="Freeform: Shape 633">
            <a:extLst>
              <a:ext uri="{FF2B5EF4-FFF2-40B4-BE49-F238E27FC236}">
                <a16:creationId xmlns="" xmlns:a16="http://schemas.microsoft.com/office/drawing/2014/main" id="{F9822541-254E-413F-80A9-61F508E7D6FE}"/>
              </a:ext>
            </a:extLst>
          </p:cNvPr>
          <p:cNvSpPr/>
          <p:nvPr/>
        </p:nvSpPr>
        <p:spPr>
          <a:xfrm>
            <a:off x="471000" y="3438745"/>
            <a:ext cx="18502" cy="18502"/>
          </a:xfrm>
          <a:custGeom>
            <a:avLst/>
            <a:gdLst>
              <a:gd name="connsiteX0" fmla="*/ 6717 w 18501"/>
              <a:gd name="connsiteY0" fmla="*/ 15968 h 18501"/>
              <a:gd name="connsiteX1" fmla="*/ 17448 w 18501"/>
              <a:gd name="connsiteY1" fmla="*/ 6717 h 18501"/>
              <a:gd name="connsiteX2" fmla="*/ 6717 w 18501"/>
              <a:gd name="connsiteY2" fmla="*/ 15968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5968"/>
                </a:moveTo>
                <a:cubicBezTo>
                  <a:pt x="10417" y="12822"/>
                  <a:pt x="13932" y="9677"/>
                  <a:pt x="17448" y="6717"/>
                </a:cubicBezTo>
                <a:cubicBezTo>
                  <a:pt x="13932" y="9677"/>
                  <a:pt x="10417" y="12730"/>
                  <a:pt x="6717" y="1596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5" name="Freeform: Shape 634">
            <a:extLst>
              <a:ext uri="{FF2B5EF4-FFF2-40B4-BE49-F238E27FC236}">
                <a16:creationId xmlns="" xmlns:a16="http://schemas.microsoft.com/office/drawing/2014/main" id="{BF4D6C23-31C5-4F74-865A-7A280DF38BAE}"/>
              </a:ext>
            </a:extLst>
          </p:cNvPr>
          <p:cNvSpPr/>
          <p:nvPr/>
        </p:nvSpPr>
        <p:spPr>
          <a:xfrm>
            <a:off x="488947" y="3417930"/>
            <a:ext cx="27753" cy="27753"/>
          </a:xfrm>
          <a:custGeom>
            <a:avLst/>
            <a:gdLst>
              <a:gd name="connsiteX0" fmla="*/ 6717 w 27752"/>
              <a:gd name="connsiteY0" fmla="*/ 21148 h 27752"/>
              <a:gd name="connsiteX1" fmla="*/ 23646 w 27752"/>
              <a:gd name="connsiteY1" fmla="*/ 6717 h 27752"/>
              <a:gd name="connsiteX2" fmla="*/ 6717 w 27752"/>
              <a:gd name="connsiteY2" fmla="*/ 21148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27752">
                <a:moveTo>
                  <a:pt x="6717" y="21148"/>
                </a:moveTo>
                <a:cubicBezTo>
                  <a:pt x="12637" y="16060"/>
                  <a:pt x="18188" y="11157"/>
                  <a:pt x="23646" y="6717"/>
                </a:cubicBezTo>
                <a:cubicBezTo>
                  <a:pt x="18280" y="11157"/>
                  <a:pt x="12637" y="15968"/>
                  <a:pt x="6717" y="2114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6" name="Freeform: Shape 635">
            <a:extLst>
              <a:ext uri="{FF2B5EF4-FFF2-40B4-BE49-F238E27FC236}">
                <a16:creationId xmlns="" xmlns:a16="http://schemas.microsoft.com/office/drawing/2014/main" id="{21320538-ECF2-4EC4-812F-69E418B6BC12}"/>
              </a:ext>
            </a:extLst>
          </p:cNvPr>
          <p:cNvSpPr/>
          <p:nvPr/>
        </p:nvSpPr>
        <p:spPr>
          <a:xfrm>
            <a:off x="547042" y="3389801"/>
            <a:ext cx="27753" cy="9251"/>
          </a:xfrm>
          <a:custGeom>
            <a:avLst/>
            <a:gdLst>
              <a:gd name="connsiteX0" fmla="*/ 6717 w 27752"/>
              <a:gd name="connsiteY0" fmla="*/ 9128 h 9250"/>
              <a:gd name="connsiteX1" fmla="*/ 22073 w 27752"/>
              <a:gd name="connsiteY1" fmla="*/ 6723 h 9250"/>
              <a:gd name="connsiteX2" fmla="*/ 6717 w 27752"/>
              <a:gd name="connsiteY2" fmla="*/ 9128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9250">
                <a:moveTo>
                  <a:pt x="6717" y="9128"/>
                </a:moveTo>
                <a:cubicBezTo>
                  <a:pt x="11805" y="7556"/>
                  <a:pt x="16893" y="6631"/>
                  <a:pt x="22073" y="6723"/>
                </a:cubicBezTo>
                <a:cubicBezTo>
                  <a:pt x="16893" y="6723"/>
                  <a:pt x="11805" y="7556"/>
                  <a:pt x="6717" y="912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7" name="Freeform: Shape 636">
            <a:extLst>
              <a:ext uri="{FF2B5EF4-FFF2-40B4-BE49-F238E27FC236}">
                <a16:creationId xmlns="" xmlns:a16="http://schemas.microsoft.com/office/drawing/2014/main" id="{A460BC50-287B-4E87-BD14-CB63C04C8008}"/>
              </a:ext>
            </a:extLst>
          </p:cNvPr>
          <p:cNvSpPr/>
          <p:nvPr/>
        </p:nvSpPr>
        <p:spPr>
          <a:xfrm>
            <a:off x="514201" y="3405996"/>
            <a:ext cx="18502" cy="18502"/>
          </a:xfrm>
          <a:custGeom>
            <a:avLst/>
            <a:gdLst>
              <a:gd name="connsiteX0" fmla="*/ 6717 w 18501"/>
              <a:gd name="connsiteY0" fmla="*/ 11897 h 18501"/>
              <a:gd name="connsiteX1" fmla="*/ 13655 w 18501"/>
              <a:gd name="connsiteY1" fmla="*/ 6717 h 18501"/>
              <a:gd name="connsiteX2" fmla="*/ 6717 w 18501"/>
              <a:gd name="connsiteY2" fmla="*/ 1189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1897"/>
                </a:moveTo>
                <a:cubicBezTo>
                  <a:pt x="9029" y="10047"/>
                  <a:pt x="11342" y="8290"/>
                  <a:pt x="13655" y="6717"/>
                </a:cubicBezTo>
                <a:cubicBezTo>
                  <a:pt x="11435" y="8382"/>
                  <a:pt x="9122" y="10140"/>
                  <a:pt x="6717" y="1189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8" name="Freeform: Shape 637">
            <a:extLst>
              <a:ext uri="{FF2B5EF4-FFF2-40B4-BE49-F238E27FC236}">
                <a16:creationId xmlns="" xmlns:a16="http://schemas.microsoft.com/office/drawing/2014/main" id="{00B5CCD2-C4C3-4185-A641-49135A1BBE27}"/>
              </a:ext>
            </a:extLst>
          </p:cNvPr>
          <p:cNvSpPr/>
          <p:nvPr/>
        </p:nvSpPr>
        <p:spPr>
          <a:xfrm>
            <a:off x="417715" y="3476858"/>
            <a:ext cx="27753" cy="18502"/>
          </a:xfrm>
          <a:custGeom>
            <a:avLst/>
            <a:gdLst>
              <a:gd name="connsiteX0" fmla="*/ 6717 w 27752"/>
              <a:gd name="connsiteY0" fmla="*/ 19390 h 18501"/>
              <a:gd name="connsiteX1" fmla="*/ 6717 w 27752"/>
              <a:gd name="connsiteY1" fmla="*/ 19390 h 18501"/>
              <a:gd name="connsiteX2" fmla="*/ 24386 w 27752"/>
              <a:gd name="connsiteY2" fmla="*/ 6717 h 18501"/>
              <a:gd name="connsiteX3" fmla="*/ 6717 w 27752"/>
              <a:gd name="connsiteY3" fmla="*/ 1939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18501">
                <a:moveTo>
                  <a:pt x="6717" y="19390"/>
                </a:moveTo>
                <a:lnTo>
                  <a:pt x="6717" y="19390"/>
                </a:lnTo>
                <a:cubicBezTo>
                  <a:pt x="12822" y="15135"/>
                  <a:pt x="18743" y="10972"/>
                  <a:pt x="24386" y="6717"/>
                </a:cubicBezTo>
                <a:cubicBezTo>
                  <a:pt x="18743" y="10880"/>
                  <a:pt x="12915" y="15135"/>
                  <a:pt x="6717" y="1939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9" name="Freeform: Shape 638">
            <a:extLst>
              <a:ext uri="{FF2B5EF4-FFF2-40B4-BE49-F238E27FC236}">
                <a16:creationId xmlns="" xmlns:a16="http://schemas.microsoft.com/office/drawing/2014/main" id="{4461D613-424B-44C5-A37F-DB8CFDB92A1B}"/>
              </a:ext>
            </a:extLst>
          </p:cNvPr>
          <p:cNvSpPr/>
          <p:nvPr/>
        </p:nvSpPr>
        <p:spPr>
          <a:xfrm>
            <a:off x="526505" y="3396376"/>
            <a:ext cx="18502" cy="18502"/>
          </a:xfrm>
          <a:custGeom>
            <a:avLst/>
            <a:gdLst>
              <a:gd name="connsiteX0" fmla="*/ 6717 w 18501"/>
              <a:gd name="connsiteY0" fmla="*/ 12730 h 18501"/>
              <a:gd name="connsiteX1" fmla="*/ 17078 w 18501"/>
              <a:gd name="connsiteY1" fmla="*/ 6717 h 18501"/>
              <a:gd name="connsiteX2" fmla="*/ 6717 w 18501"/>
              <a:gd name="connsiteY2" fmla="*/ 1273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2730"/>
                </a:moveTo>
                <a:cubicBezTo>
                  <a:pt x="10232" y="10417"/>
                  <a:pt x="13655" y="8474"/>
                  <a:pt x="17078" y="6717"/>
                </a:cubicBezTo>
                <a:cubicBezTo>
                  <a:pt x="13655" y="8474"/>
                  <a:pt x="10232" y="10509"/>
                  <a:pt x="6717" y="1273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0" name="Freeform: Shape 639">
            <a:extLst>
              <a:ext uri="{FF2B5EF4-FFF2-40B4-BE49-F238E27FC236}">
                <a16:creationId xmlns="" xmlns:a16="http://schemas.microsoft.com/office/drawing/2014/main" id="{B4FBFA3F-A6B2-4AF2-966E-84852399A391}"/>
              </a:ext>
            </a:extLst>
          </p:cNvPr>
          <p:cNvSpPr/>
          <p:nvPr/>
        </p:nvSpPr>
        <p:spPr>
          <a:xfrm>
            <a:off x="502730" y="3498783"/>
            <a:ext cx="27753" cy="46254"/>
          </a:xfrm>
          <a:custGeom>
            <a:avLst/>
            <a:gdLst>
              <a:gd name="connsiteX0" fmla="*/ 6717 w 27752"/>
              <a:gd name="connsiteY0" fmla="*/ 46311 h 46254"/>
              <a:gd name="connsiteX1" fmla="*/ 27809 w 27752"/>
              <a:gd name="connsiteY1" fmla="*/ 6717 h 46254"/>
              <a:gd name="connsiteX2" fmla="*/ 27809 w 27752"/>
              <a:gd name="connsiteY2" fmla="*/ 6717 h 46254"/>
              <a:gd name="connsiteX3" fmla="*/ 6717 w 27752"/>
              <a:gd name="connsiteY3" fmla="*/ 46311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46254">
                <a:moveTo>
                  <a:pt x="6717" y="46311"/>
                </a:moveTo>
                <a:cubicBezTo>
                  <a:pt x="7549" y="32064"/>
                  <a:pt x="14950" y="17725"/>
                  <a:pt x="27809" y="6717"/>
                </a:cubicBezTo>
                <a:cubicBezTo>
                  <a:pt x="27809" y="6717"/>
                  <a:pt x="27809" y="6717"/>
                  <a:pt x="27809" y="6717"/>
                </a:cubicBezTo>
                <a:cubicBezTo>
                  <a:pt x="15043" y="17725"/>
                  <a:pt x="7549" y="32064"/>
                  <a:pt x="6717" y="4631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1" name="Freeform: Shape 640">
            <a:extLst>
              <a:ext uri="{FF2B5EF4-FFF2-40B4-BE49-F238E27FC236}">
                <a16:creationId xmlns="" xmlns:a16="http://schemas.microsoft.com/office/drawing/2014/main" id="{F652B8F2-F8D9-49D0-912D-FF4697840F1A}"/>
              </a:ext>
            </a:extLst>
          </p:cNvPr>
          <p:cNvSpPr/>
          <p:nvPr/>
        </p:nvSpPr>
        <p:spPr>
          <a:xfrm>
            <a:off x="509735" y="3447718"/>
            <a:ext cx="9251" cy="37004"/>
          </a:xfrm>
          <a:custGeom>
            <a:avLst/>
            <a:gdLst>
              <a:gd name="connsiteX0" fmla="*/ 8408 w 9250"/>
              <a:gd name="connsiteY0" fmla="*/ 33544 h 37003"/>
              <a:gd name="connsiteX1" fmla="*/ 8778 w 9250"/>
              <a:gd name="connsiteY1" fmla="*/ 6717 h 37003"/>
              <a:gd name="connsiteX2" fmla="*/ 8408 w 9250"/>
              <a:gd name="connsiteY2" fmla="*/ 33544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37003">
                <a:moveTo>
                  <a:pt x="8408" y="33544"/>
                </a:moveTo>
                <a:cubicBezTo>
                  <a:pt x="6095" y="24386"/>
                  <a:pt x="6095" y="15227"/>
                  <a:pt x="8778" y="6717"/>
                </a:cubicBezTo>
                <a:cubicBezTo>
                  <a:pt x="6095" y="15227"/>
                  <a:pt x="6095" y="24478"/>
                  <a:pt x="8408" y="3354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2" name="Freeform: Shape 641">
            <a:extLst>
              <a:ext uri="{FF2B5EF4-FFF2-40B4-BE49-F238E27FC236}">
                <a16:creationId xmlns="" xmlns:a16="http://schemas.microsoft.com/office/drawing/2014/main" id="{97C96165-7691-4973-8089-9789B9D215B3}"/>
              </a:ext>
            </a:extLst>
          </p:cNvPr>
          <p:cNvSpPr/>
          <p:nvPr/>
        </p:nvSpPr>
        <p:spPr>
          <a:xfrm>
            <a:off x="1005424" y="2890629"/>
            <a:ext cx="37004" cy="37004"/>
          </a:xfrm>
          <a:custGeom>
            <a:avLst/>
            <a:gdLst>
              <a:gd name="connsiteX0" fmla="*/ 30492 w 37003"/>
              <a:gd name="connsiteY0" fmla="*/ 31787 h 37003"/>
              <a:gd name="connsiteX1" fmla="*/ 6717 w 37003"/>
              <a:gd name="connsiteY1" fmla="*/ 6717 h 37003"/>
              <a:gd name="connsiteX2" fmla="*/ 30492 w 37003"/>
              <a:gd name="connsiteY2" fmla="*/ 3178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37003">
                <a:moveTo>
                  <a:pt x="30492" y="31787"/>
                </a:moveTo>
                <a:cubicBezTo>
                  <a:pt x="19483" y="26051"/>
                  <a:pt x="11065" y="17263"/>
                  <a:pt x="6717" y="6717"/>
                </a:cubicBezTo>
                <a:cubicBezTo>
                  <a:pt x="11157" y="17263"/>
                  <a:pt x="19483" y="25958"/>
                  <a:pt x="30492" y="3178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3" name="Freeform: Shape 642">
            <a:extLst>
              <a:ext uri="{FF2B5EF4-FFF2-40B4-BE49-F238E27FC236}">
                <a16:creationId xmlns="" xmlns:a16="http://schemas.microsoft.com/office/drawing/2014/main" id="{1B6EEB63-C35A-404F-A063-CF125FFE536F}"/>
              </a:ext>
            </a:extLst>
          </p:cNvPr>
          <p:cNvSpPr/>
          <p:nvPr/>
        </p:nvSpPr>
        <p:spPr>
          <a:xfrm>
            <a:off x="984332" y="2840581"/>
            <a:ext cx="18502" cy="27753"/>
          </a:xfrm>
          <a:custGeom>
            <a:avLst/>
            <a:gdLst>
              <a:gd name="connsiteX0" fmla="*/ 6717 w 18501"/>
              <a:gd name="connsiteY0" fmla="*/ 25219 h 27752"/>
              <a:gd name="connsiteX1" fmla="*/ 11990 w 18501"/>
              <a:gd name="connsiteY1" fmla="*/ 6717 h 27752"/>
              <a:gd name="connsiteX2" fmla="*/ 6717 w 18501"/>
              <a:gd name="connsiteY2" fmla="*/ 25219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27752">
                <a:moveTo>
                  <a:pt x="6717" y="25219"/>
                </a:moveTo>
                <a:cubicBezTo>
                  <a:pt x="8197" y="18558"/>
                  <a:pt x="9955" y="12360"/>
                  <a:pt x="11990" y="6717"/>
                </a:cubicBezTo>
                <a:cubicBezTo>
                  <a:pt x="9955" y="12360"/>
                  <a:pt x="8197" y="18558"/>
                  <a:pt x="6717" y="2521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4" name="Freeform: Shape 643">
            <a:extLst>
              <a:ext uri="{FF2B5EF4-FFF2-40B4-BE49-F238E27FC236}">
                <a16:creationId xmlns="" xmlns:a16="http://schemas.microsoft.com/office/drawing/2014/main" id="{C9288BFB-F8CE-4723-B765-97552BD643B0}"/>
              </a:ext>
            </a:extLst>
          </p:cNvPr>
          <p:cNvSpPr/>
          <p:nvPr/>
        </p:nvSpPr>
        <p:spPr>
          <a:xfrm>
            <a:off x="1006997" y="2807833"/>
            <a:ext cx="18502" cy="18502"/>
          </a:xfrm>
          <a:custGeom>
            <a:avLst/>
            <a:gdLst>
              <a:gd name="connsiteX0" fmla="*/ 6717 w 18501"/>
              <a:gd name="connsiteY0" fmla="*/ 12545 h 18501"/>
              <a:gd name="connsiteX1" fmla="*/ 15598 w 18501"/>
              <a:gd name="connsiteY1" fmla="*/ 6717 h 18501"/>
              <a:gd name="connsiteX2" fmla="*/ 6717 w 18501"/>
              <a:gd name="connsiteY2" fmla="*/ 1254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2545"/>
                </a:moveTo>
                <a:cubicBezTo>
                  <a:pt x="9400" y="10325"/>
                  <a:pt x="12267" y="8382"/>
                  <a:pt x="15598" y="6717"/>
                </a:cubicBezTo>
                <a:cubicBezTo>
                  <a:pt x="12360" y="8474"/>
                  <a:pt x="9400" y="10325"/>
                  <a:pt x="6717" y="1254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5" name="Freeform: Shape 644">
            <a:extLst>
              <a:ext uri="{FF2B5EF4-FFF2-40B4-BE49-F238E27FC236}">
                <a16:creationId xmlns="" xmlns:a16="http://schemas.microsoft.com/office/drawing/2014/main" id="{A4644105-7014-4B3C-8D5D-A482564F6DF3}"/>
              </a:ext>
            </a:extLst>
          </p:cNvPr>
          <p:cNvSpPr/>
          <p:nvPr/>
        </p:nvSpPr>
        <p:spPr>
          <a:xfrm>
            <a:off x="1032899" y="2800895"/>
            <a:ext cx="18502" cy="9251"/>
          </a:xfrm>
          <a:custGeom>
            <a:avLst/>
            <a:gdLst>
              <a:gd name="connsiteX0" fmla="*/ 6717 w 18501"/>
              <a:gd name="connsiteY0" fmla="*/ 8197 h 9250"/>
              <a:gd name="connsiteX1" fmla="*/ 20963 w 18501"/>
              <a:gd name="connsiteY1" fmla="*/ 6717 h 9250"/>
              <a:gd name="connsiteX2" fmla="*/ 6717 w 18501"/>
              <a:gd name="connsiteY2" fmla="*/ 819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6717" y="8197"/>
                </a:moveTo>
                <a:cubicBezTo>
                  <a:pt x="11065" y="7457"/>
                  <a:pt x="15783" y="6902"/>
                  <a:pt x="20963" y="6717"/>
                </a:cubicBezTo>
                <a:cubicBezTo>
                  <a:pt x="15783" y="6994"/>
                  <a:pt x="11065" y="7457"/>
                  <a:pt x="6717" y="819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6" name="Freeform: Shape 645">
            <a:extLst>
              <a:ext uri="{FF2B5EF4-FFF2-40B4-BE49-F238E27FC236}">
                <a16:creationId xmlns="" xmlns:a16="http://schemas.microsoft.com/office/drawing/2014/main" id="{5B150963-9BB6-4B60-898E-2DD721AACA11}"/>
              </a:ext>
            </a:extLst>
          </p:cNvPr>
          <p:cNvSpPr/>
          <p:nvPr/>
        </p:nvSpPr>
        <p:spPr>
          <a:xfrm>
            <a:off x="960280" y="2859083"/>
            <a:ext cx="37004" cy="129513"/>
          </a:xfrm>
          <a:custGeom>
            <a:avLst/>
            <a:gdLst>
              <a:gd name="connsiteX0" fmla="*/ 6717 w 37003"/>
              <a:gd name="connsiteY0" fmla="*/ 130679 h 129512"/>
              <a:gd name="connsiteX1" fmla="*/ 6717 w 37003"/>
              <a:gd name="connsiteY1" fmla="*/ 130679 h 129512"/>
              <a:gd name="connsiteX2" fmla="*/ 30769 w 37003"/>
              <a:gd name="connsiteY2" fmla="*/ 6717 h 129512"/>
              <a:gd name="connsiteX3" fmla="*/ 6717 w 37003"/>
              <a:gd name="connsiteY3" fmla="*/ 130679 h 12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03" h="129512">
                <a:moveTo>
                  <a:pt x="6717" y="130679"/>
                </a:moveTo>
                <a:lnTo>
                  <a:pt x="6717" y="130679"/>
                </a:lnTo>
                <a:cubicBezTo>
                  <a:pt x="20686" y="80354"/>
                  <a:pt x="23646" y="37985"/>
                  <a:pt x="30769" y="6717"/>
                </a:cubicBezTo>
                <a:cubicBezTo>
                  <a:pt x="23646" y="37985"/>
                  <a:pt x="20686" y="80354"/>
                  <a:pt x="6717" y="13067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7" name="Freeform: Shape 646">
            <a:extLst>
              <a:ext uri="{FF2B5EF4-FFF2-40B4-BE49-F238E27FC236}">
                <a16:creationId xmlns="" xmlns:a16="http://schemas.microsoft.com/office/drawing/2014/main" id="{8643A7AF-8ACB-42F1-AC8D-1665173531E3}"/>
              </a:ext>
            </a:extLst>
          </p:cNvPr>
          <p:cNvSpPr/>
          <p:nvPr/>
        </p:nvSpPr>
        <p:spPr>
          <a:xfrm>
            <a:off x="996821" y="2817177"/>
            <a:ext cx="18502" cy="18502"/>
          </a:xfrm>
          <a:custGeom>
            <a:avLst/>
            <a:gdLst>
              <a:gd name="connsiteX0" fmla="*/ 6717 w 18501"/>
              <a:gd name="connsiteY0" fmla="*/ 14950 h 18501"/>
              <a:gd name="connsiteX1" fmla="*/ 13100 w 18501"/>
              <a:gd name="connsiteY1" fmla="*/ 6717 h 18501"/>
              <a:gd name="connsiteX2" fmla="*/ 6717 w 18501"/>
              <a:gd name="connsiteY2" fmla="*/ 1495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4950"/>
                </a:moveTo>
                <a:cubicBezTo>
                  <a:pt x="8659" y="11990"/>
                  <a:pt x="10787" y="9214"/>
                  <a:pt x="13100" y="6717"/>
                </a:cubicBezTo>
                <a:cubicBezTo>
                  <a:pt x="10787" y="9214"/>
                  <a:pt x="8659" y="11990"/>
                  <a:pt x="6717" y="1495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8" name="Freeform: Shape 647">
            <a:extLst>
              <a:ext uri="{FF2B5EF4-FFF2-40B4-BE49-F238E27FC236}">
                <a16:creationId xmlns="" xmlns:a16="http://schemas.microsoft.com/office/drawing/2014/main" id="{3D9767B2-5319-4694-BE55-365DD070BBE6}"/>
              </a:ext>
            </a:extLst>
          </p:cNvPr>
          <p:cNvSpPr/>
          <p:nvPr/>
        </p:nvSpPr>
        <p:spPr>
          <a:xfrm>
            <a:off x="1046642" y="2921989"/>
            <a:ext cx="27753" cy="55505"/>
          </a:xfrm>
          <a:custGeom>
            <a:avLst/>
            <a:gdLst>
              <a:gd name="connsiteX0" fmla="*/ 22669 w 27752"/>
              <a:gd name="connsiteY0" fmla="*/ 56949 h 55505"/>
              <a:gd name="connsiteX1" fmla="*/ 7683 w 27752"/>
              <a:gd name="connsiteY1" fmla="*/ 6717 h 55505"/>
              <a:gd name="connsiteX2" fmla="*/ 7683 w 27752"/>
              <a:gd name="connsiteY2" fmla="*/ 6717 h 55505"/>
              <a:gd name="connsiteX3" fmla="*/ 22669 w 27752"/>
              <a:gd name="connsiteY3" fmla="*/ 56949 h 55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55505">
                <a:moveTo>
                  <a:pt x="22669" y="56949"/>
                </a:moveTo>
                <a:cubicBezTo>
                  <a:pt x="10088" y="45386"/>
                  <a:pt x="4353" y="26699"/>
                  <a:pt x="7683" y="6717"/>
                </a:cubicBezTo>
                <a:cubicBezTo>
                  <a:pt x="7683" y="6717"/>
                  <a:pt x="7683" y="6717"/>
                  <a:pt x="7683" y="6717"/>
                </a:cubicBezTo>
                <a:cubicBezTo>
                  <a:pt x="4260" y="26699"/>
                  <a:pt x="10088" y="45386"/>
                  <a:pt x="22669" y="5694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49" name="Freeform: Shape 648">
            <a:extLst>
              <a:ext uri="{FF2B5EF4-FFF2-40B4-BE49-F238E27FC236}">
                <a16:creationId xmlns="" xmlns:a16="http://schemas.microsoft.com/office/drawing/2014/main" id="{E34C4DB5-0BE4-46D3-8EBB-A8C0F13F59FC}"/>
              </a:ext>
            </a:extLst>
          </p:cNvPr>
          <p:cNvSpPr/>
          <p:nvPr/>
        </p:nvSpPr>
        <p:spPr>
          <a:xfrm>
            <a:off x="1053899" y="2150372"/>
            <a:ext cx="18502" cy="9251"/>
          </a:xfrm>
          <a:custGeom>
            <a:avLst/>
            <a:gdLst>
              <a:gd name="connsiteX0" fmla="*/ 6717 w 18501"/>
              <a:gd name="connsiteY0" fmla="*/ 7549 h 9250"/>
              <a:gd name="connsiteX1" fmla="*/ 12637 w 18501"/>
              <a:gd name="connsiteY1" fmla="*/ 6717 h 9250"/>
              <a:gd name="connsiteX2" fmla="*/ 6717 w 18501"/>
              <a:gd name="connsiteY2" fmla="*/ 7549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6717" y="7549"/>
                </a:moveTo>
                <a:cubicBezTo>
                  <a:pt x="8659" y="7364"/>
                  <a:pt x="10695" y="7179"/>
                  <a:pt x="12637" y="6717"/>
                </a:cubicBezTo>
                <a:cubicBezTo>
                  <a:pt x="10695" y="7179"/>
                  <a:pt x="8752" y="7364"/>
                  <a:pt x="6717" y="754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0" name="Freeform: Shape 649">
            <a:extLst>
              <a:ext uri="{FF2B5EF4-FFF2-40B4-BE49-F238E27FC236}">
                <a16:creationId xmlns="" xmlns:a16="http://schemas.microsoft.com/office/drawing/2014/main" id="{CF6D1582-DCAE-4072-9C50-F98766B1D4BF}"/>
              </a:ext>
            </a:extLst>
          </p:cNvPr>
          <p:cNvSpPr/>
          <p:nvPr/>
        </p:nvSpPr>
        <p:spPr>
          <a:xfrm>
            <a:off x="987570" y="2132980"/>
            <a:ext cx="9251" cy="18502"/>
          </a:xfrm>
          <a:custGeom>
            <a:avLst/>
            <a:gdLst>
              <a:gd name="connsiteX0" fmla="*/ 6717 w 9250"/>
              <a:gd name="connsiteY0" fmla="*/ 6717 h 18501"/>
              <a:gd name="connsiteX1" fmla="*/ 11157 w 9250"/>
              <a:gd name="connsiteY1" fmla="*/ 15228 h 18501"/>
              <a:gd name="connsiteX2" fmla="*/ 6717 w 9250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6717" y="6717"/>
                </a:moveTo>
                <a:cubicBezTo>
                  <a:pt x="8104" y="9492"/>
                  <a:pt x="9585" y="12267"/>
                  <a:pt x="11157" y="15228"/>
                </a:cubicBezTo>
                <a:cubicBezTo>
                  <a:pt x="9585" y="12267"/>
                  <a:pt x="8104" y="9492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1" name="Freeform: Shape 650">
            <a:extLst>
              <a:ext uri="{FF2B5EF4-FFF2-40B4-BE49-F238E27FC236}">
                <a16:creationId xmlns="" xmlns:a16="http://schemas.microsoft.com/office/drawing/2014/main" id="{27F0B4E0-4612-49F3-A103-9417BDB4DA37}"/>
              </a:ext>
            </a:extLst>
          </p:cNvPr>
          <p:cNvSpPr/>
          <p:nvPr/>
        </p:nvSpPr>
        <p:spPr>
          <a:xfrm>
            <a:off x="1077859" y="2143434"/>
            <a:ext cx="55505" cy="37004"/>
          </a:xfrm>
          <a:custGeom>
            <a:avLst/>
            <a:gdLst>
              <a:gd name="connsiteX0" fmla="*/ 50566 w 55505"/>
              <a:gd name="connsiteY0" fmla="*/ 35580 h 37003"/>
              <a:gd name="connsiteX1" fmla="*/ 6717 w 55505"/>
              <a:gd name="connsiteY1" fmla="*/ 6717 h 37003"/>
              <a:gd name="connsiteX2" fmla="*/ 6717 w 55505"/>
              <a:gd name="connsiteY2" fmla="*/ 6717 h 37003"/>
              <a:gd name="connsiteX3" fmla="*/ 50566 w 55505"/>
              <a:gd name="connsiteY3" fmla="*/ 35580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37003">
                <a:moveTo>
                  <a:pt x="50566" y="35580"/>
                </a:moveTo>
                <a:cubicBezTo>
                  <a:pt x="33544" y="34840"/>
                  <a:pt x="17078" y="24201"/>
                  <a:pt x="6717" y="6717"/>
                </a:cubicBezTo>
                <a:cubicBezTo>
                  <a:pt x="6717" y="6717"/>
                  <a:pt x="6717" y="6717"/>
                  <a:pt x="6717" y="6717"/>
                </a:cubicBezTo>
                <a:cubicBezTo>
                  <a:pt x="17078" y="24201"/>
                  <a:pt x="33544" y="34840"/>
                  <a:pt x="50566" y="3558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2" name="Freeform: Shape 651">
            <a:extLst>
              <a:ext uri="{FF2B5EF4-FFF2-40B4-BE49-F238E27FC236}">
                <a16:creationId xmlns="" xmlns:a16="http://schemas.microsoft.com/office/drawing/2014/main" id="{92F6375E-99CC-41D5-94A7-24AE83772882}"/>
              </a:ext>
            </a:extLst>
          </p:cNvPr>
          <p:cNvSpPr/>
          <p:nvPr/>
        </p:nvSpPr>
        <p:spPr>
          <a:xfrm>
            <a:off x="1025591" y="2146486"/>
            <a:ext cx="37004" cy="18502"/>
          </a:xfrm>
          <a:custGeom>
            <a:avLst/>
            <a:gdLst>
              <a:gd name="connsiteX0" fmla="*/ 31972 w 37003"/>
              <a:gd name="connsiteY0" fmla="*/ 11897 h 18501"/>
              <a:gd name="connsiteX1" fmla="*/ 6717 w 37003"/>
              <a:gd name="connsiteY1" fmla="*/ 6717 h 18501"/>
              <a:gd name="connsiteX2" fmla="*/ 31972 w 37003"/>
              <a:gd name="connsiteY2" fmla="*/ 1189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18501">
                <a:moveTo>
                  <a:pt x="31972" y="11897"/>
                </a:moveTo>
                <a:cubicBezTo>
                  <a:pt x="22998" y="12360"/>
                  <a:pt x="14303" y="10695"/>
                  <a:pt x="6717" y="6717"/>
                </a:cubicBezTo>
                <a:cubicBezTo>
                  <a:pt x="14303" y="10695"/>
                  <a:pt x="22906" y="12360"/>
                  <a:pt x="31972" y="1189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3" name="Freeform: Shape 652">
            <a:extLst>
              <a:ext uri="{FF2B5EF4-FFF2-40B4-BE49-F238E27FC236}">
                <a16:creationId xmlns="" xmlns:a16="http://schemas.microsoft.com/office/drawing/2014/main" id="{45D33BB0-B037-4D2D-B7BE-D079B13B2A27}"/>
              </a:ext>
            </a:extLst>
          </p:cNvPr>
          <p:cNvSpPr/>
          <p:nvPr/>
        </p:nvSpPr>
        <p:spPr>
          <a:xfrm>
            <a:off x="489964" y="1552949"/>
            <a:ext cx="18502" cy="18502"/>
          </a:xfrm>
          <a:custGeom>
            <a:avLst/>
            <a:gdLst>
              <a:gd name="connsiteX0" fmla="*/ 6717 w 18501"/>
              <a:gd name="connsiteY0" fmla="*/ 6717 h 18501"/>
              <a:gd name="connsiteX1" fmla="*/ 17818 w 18501"/>
              <a:gd name="connsiteY1" fmla="*/ 17910 h 18501"/>
              <a:gd name="connsiteX2" fmla="*/ 6717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6717"/>
                </a:moveTo>
                <a:cubicBezTo>
                  <a:pt x="9770" y="10880"/>
                  <a:pt x="13470" y="14580"/>
                  <a:pt x="17818" y="17910"/>
                </a:cubicBezTo>
                <a:cubicBezTo>
                  <a:pt x="13470" y="14580"/>
                  <a:pt x="9770" y="10880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4" name="Freeform: Shape 653">
            <a:extLst>
              <a:ext uri="{FF2B5EF4-FFF2-40B4-BE49-F238E27FC236}">
                <a16:creationId xmlns="" xmlns:a16="http://schemas.microsoft.com/office/drawing/2014/main" id="{FFFE0727-326F-4A0F-9BA7-F2A6FC56546A}"/>
              </a:ext>
            </a:extLst>
          </p:cNvPr>
          <p:cNvSpPr/>
          <p:nvPr/>
        </p:nvSpPr>
        <p:spPr>
          <a:xfrm>
            <a:off x="574980" y="1551284"/>
            <a:ext cx="18502" cy="18502"/>
          </a:xfrm>
          <a:custGeom>
            <a:avLst/>
            <a:gdLst>
              <a:gd name="connsiteX0" fmla="*/ 17078 w 18501"/>
              <a:gd name="connsiteY0" fmla="*/ 6717 h 18501"/>
              <a:gd name="connsiteX1" fmla="*/ 6717 w 18501"/>
              <a:gd name="connsiteY1" fmla="*/ 14117 h 18501"/>
              <a:gd name="connsiteX2" fmla="*/ 17078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7078" y="6717"/>
                </a:moveTo>
                <a:cubicBezTo>
                  <a:pt x="13932" y="9677"/>
                  <a:pt x="10325" y="12082"/>
                  <a:pt x="6717" y="14117"/>
                </a:cubicBezTo>
                <a:cubicBezTo>
                  <a:pt x="10325" y="12082"/>
                  <a:pt x="13840" y="9677"/>
                  <a:pt x="17078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5" name="Freeform: Shape 654">
            <a:extLst>
              <a:ext uri="{FF2B5EF4-FFF2-40B4-BE49-F238E27FC236}">
                <a16:creationId xmlns="" xmlns:a16="http://schemas.microsoft.com/office/drawing/2014/main" id="{D9970B98-B4B9-469E-84F4-BB18E3C67490}"/>
              </a:ext>
            </a:extLst>
          </p:cNvPr>
          <p:cNvSpPr/>
          <p:nvPr/>
        </p:nvSpPr>
        <p:spPr>
          <a:xfrm>
            <a:off x="638904" y="1620850"/>
            <a:ext cx="18502" cy="9251"/>
          </a:xfrm>
          <a:custGeom>
            <a:avLst/>
            <a:gdLst>
              <a:gd name="connsiteX0" fmla="*/ 13655 w 18501"/>
              <a:gd name="connsiteY0" fmla="*/ 9954 h 9250"/>
              <a:gd name="connsiteX1" fmla="*/ 13655 w 18501"/>
              <a:gd name="connsiteY1" fmla="*/ 9954 h 9250"/>
              <a:gd name="connsiteX2" fmla="*/ 6717 w 18501"/>
              <a:gd name="connsiteY2" fmla="*/ 6717 h 9250"/>
              <a:gd name="connsiteX3" fmla="*/ 13655 w 18501"/>
              <a:gd name="connsiteY3" fmla="*/ 9954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9250">
                <a:moveTo>
                  <a:pt x="13655" y="9954"/>
                </a:moveTo>
                <a:lnTo>
                  <a:pt x="13655" y="9954"/>
                </a:lnTo>
                <a:cubicBezTo>
                  <a:pt x="11342" y="8844"/>
                  <a:pt x="9029" y="7827"/>
                  <a:pt x="6717" y="6717"/>
                </a:cubicBezTo>
                <a:cubicBezTo>
                  <a:pt x="9029" y="7827"/>
                  <a:pt x="11342" y="8844"/>
                  <a:pt x="13655" y="995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6" name="Freeform: Shape 655">
            <a:extLst>
              <a:ext uri="{FF2B5EF4-FFF2-40B4-BE49-F238E27FC236}">
                <a16:creationId xmlns="" xmlns:a16="http://schemas.microsoft.com/office/drawing/2014/main" id="{1EF98FFE-7552-4169-9C34-834FE2314018}"/>
              </a:ext>
            </a:extLst>
          </p:cNvPr>
          <p:cNvSpPr/>
          <p:nvPr/>
        </p:nvSpPr>
        <p:spPr>
          <a:xfrm>
            <a:off x="587561" y="1600221"/>
            <a:ext cx="55505" cy="27753"/>
          </a:xfrm>
          <a:custGeom>
            <a:avLst/>
            <a:gdLst>
              <a:gd name="connsiteX0" fmla="*/ 52601 w 55505"/>
              <a:gd name="connsiteY0" fmla="*/ 24849 h 27752"/>
              <a:gd name="connsiteX1" fmla="*/ 6717 w 55505"/>
              <a:gd name="connsiteY1" fmla="*/ 6717 h 27752"/>
              <a:gd name="connsiteX2" fmla="*/ 52601 w 55505"/>
              <a:gd name="connsiteY2" fmla="*/ 24849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505" h="27752">
                <a:moveTo>
                  <a:pt x="52601" y="24849"/>
                </a:moveTo>
                <a:cubicBezTo>
                  <a:pt x="36412" y="17633"/>
                  <a:pt x="21056" y="11805"/>
                  <a:pt x="6717" y="6717"/>
                </a:cubicBezTo>
                <a:cubicBezTo>
                  <a:pt x="21056" y="11897"/>
                  <a:pt x="36412" y="17725"/>
                  <a:pt x="52601" y="2484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7" name="Freeform: Shape 656">
            <a:extLst>
              <a:ext uri="{FF2B5EF4-FFF2-40B4-BE49-F238E27FC236}">
                <a16:creationId xmlns="" xmlns:a16="http://schemas.microsoft.com/office/drawing/2014/main" id="{D58EC7E1-F05B-4571-97A5-53B8FAD5EC8F}"/>
              </a:ext>
            </a:extLst>
          </p:cNvPr>
          <p:cNvSpPr/>
          <p:nvPr/>
        </p:nvSpPr>
        <p:spPr>
          <a:xfrm>
            <a:off x="532518" y="1580794"/>
            <a:ext cx="27753" cy="18502"/>
          </a:xfrm>
          <a:custGeom>
            <a:avLst/>
            <a:gdLst>
              <a:gd name="connsiteX0" fmla="*/ 27901 w 27752"/>
              <a:gd name="connsiteY0" fmla="*/ 14487 h 18501"/>
              <a:gd name="connsiteX1" fmla="*/ 6717 w 27752"/>
              <a:gd name="connsiteY1" fmla="*/ 6717 h 18501"/>
              <a:gd name="connsiteX2" fmla="*/ 27901 w 27752"/>
              <a:gd name="connsiteY2" fmla="*/ 1448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18501">
                <a:moveTo>
                  <a:pt x="27901" y="14487"/>
                </a:moveTo>
                <a:cubicBezTo>
                  <a:pt x="20408" y="11897"/>
                  <a:pt x="13285" y="9307"/>
                  <a:pt x="6717" y="6717"/>
                </a:cubicBezTo>
                <a:cubicBezTo>
                  <a:pt x="13377" y="9307"/>
                  <a:pt x="20408" y="11897"/>
                  <a:pt x="27901" y="1448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8" name="Freeform: Shape 657">
            <a:extLst>
              <a:ext uri="{FF2B5EF4-FFF2-40B4-BE49-F238E27FC236}">
                <a16:creationId xmlns="" xmlns:a16="http://schemas.microsoft.com/office/drawing/2014/main" id="{ED5639F2-CD5B-4249-9E0F-0F5C2A9BB707}"/>
              </a:ext>
            </a:extLst>
          </p:cNvPr>
          <p:cNvSpPr/>
          <p:nvPr/>
        </p:nvSpPr>
        <p:spPr>
          <a:xfrm>
            <a:off x="586266" y="1544530"/>
            <a:ext cx="18502" cy="18502"/>
          </a:xfrm>
          <a:custGeom>
            <a:avLst/>
            <a:gdLst>
              <a:gd name="connsiteX0" fmla="*/ 6717 w 18501"/>
              <a:gd name="connsiteY0" fmla="*/ 12360 h 18501"/>
              <a:gd name="connsiteX1" fmla="*/ 11897 w 18501"/>
              <a:gd name="connsiteY1" fmla="*/ 6717 h 18501"/>
              <a:gd name="connsiteX2" fmla="*/ 6717 w 18501"/>
              <a:gd name="connsiteY2" fmla="*/ 1236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2360"/>
                </a:moveTo>
                <a:cubicBezTo>
                  <a:pt x="8474" y="10602"/>
                  <a:pt x="10232" y="8752"/>
                  <a:pt x="11897" y="6717"/>
                </a:cubicBezTo>
                <a:cubicBezTo>
                  <a:pt x="10325" y="8752"/>
                  <a:pt x="8567" y="10602"/>
                  <a:pt x="6717" y="1236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9" name="Freeform: Shape 658">
            <a:extLst>
              <a:ext uri="{FF2B5EF4-FFF2-40B4-BE49-F238E27FC236}">
                <a16:creationId xmlns="" xmlns:a16="http://schemas.microsoft.com/office/drawing/2014/main" id="{09A02A05-9F02-40F8-97F8-13D4B5694BCD}"/>
              </a:ext>
            </a:extLst>
          </p:cNvPr>
          <p:cNvSpPr/>
          <p:nvPr/>
        </p:nvSpPr>
        <p:spPr>
          <a:xfrm>
            <a:off x="513091" y="1571821"/>
            <a:ext cx="9251" cy="9251"/>
          </a:xfrm>
          <a:custGeom>
            <a:avLst/>
            <a:gdLst>
              <a:gd name="connsiteX0" fmla="*/ 11527 w 9250"/>
              <a:gd name="connsiteY0" fmla="*/ 9214 h 9250"/>
              <a:gd name="connsiteX1" fmla="*/ 6717 w 9250"/>
              <a:gd name="connsiteY1" fmla="*/ 6717 h 9250"/>
              <a:gd name="connsiteX2" fmla="*/ 11527 w 9250"/>
              <a:gd name="connsiteY2" fmla="*/ 9214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11527" y="9214"/>
                </a:moveTo>
                <a:cubicBezTo>
                  <a:pt x="9862" y="8382"/>
                  <a:pt x="8289" y="7549"/>
                  <a:pt x="6717" y="6717"/>
                </a:cubicBezTo>
                <a:cubicBezTo>
                  <a:pt x="8289" y="7642"/>
                  <a:pt x="9862" y="8474"/>
                  <a:pt x="11527" y="9214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0" name="Freeform: Shape 659">
            <a:extLst>
              <a:ext uri="{FF2B5EF4-FFF2-40B4-BE49-F238E27FC236}">
                <a16:creationId xmlns="" xmlns:a16="http://schemas.microsoft.com/office/drawing/2014/main" id="{D22C7635-3829-4069-9FF1-EB4658D91ECC}"/>
              </a:ext>
            </a:extLst>
          </p:cNvPr>
          <p:cNvSpPr/>
          <p:nvPr/>
        </p:nvSpPr>
        <p:spPr>
          <a:xfrm>
            <a:off x="600790" y="1521496"/>
            <a:ext cx="64756" cy="18502"/>
          </a:xfrm>
          <a:custGeom>
            <a:avLst/>
            <a:gdLst>
              <a:gd name="connsiteX0" fmla="*/ 58799 w 64756"/>
              <a:gd name="connsiteY0" fmla="*/ 6717 h 18501"/>
              <a:gd name="connsiteX1" fmla="*/ 6717 w 64756"/>
              <a:gd name="connsiteY1" fmla="*/ 12822 h 18501"/>
              <a:gd name="connsiteX2" fmla="*/ 6717 w 64756"/>
              <a:gd name="connsiteY2" fmla="*/ 12822 h 18501"/>
              <a:gd name="connsiteX3" fmla="*/ 58799 w 64756"/>
              <a:gd name="connsiteY3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18501">
                <a:moveTo>
                  <a:pt x="58799" y="6717"/>
                </a:moveTo>
                <a:cubicBezTo>
                  <a:pt x="45201" y="17078"/>
                  <a:pt x="25866" y="19483"/>
                  <a:pt x="6717" y="12822"/>
                </a:cubicBezTo>
                <a:cubicBezTo>
                  <a:pt x="6717" y="12822"/>
                  <a:pt x="6717" y="12822"/>
                  <a:pt x="6717" y="12822"/>
                </a:cubicBezTo>
                <a:cubicBezTo>
                  <a:pt x="25866" y="19483"/>
                  <a:pt x="45293" y="17078"/>
                  <a:pt x="58799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1" name="Freeform: Shape 660">
            <a:extLst>
              <a:ext uri="{FF2B5EF4-FFF2-40B4-BE49-F238E27FC236}">
                <a16:creationId xmlns="" xmlns:a16="http://schemas.microsoft.com/office/drawing/2014/main" id="{ED8C613E-0519-475F-9C91-BA511D77FD74}"/>
              </a:ext>
            </a:extLst>
          </p:cNvPr>
          <p:cNvSpPr/>
          <p:nvPr/>
        </p:nvSpPr>
        <p:spPr>
          <a:xfrm>
            <a:off x="217895" y="4118593"/>
            <a:ext cx="18502" cy="18502"/>
          </a:xfrm>
          <a:custGeom>
            <a:avLst/>
            <a:gdLst>
              <a:gd name="connsiteX0" fmla="*/ 6717 w 18501"/>
              <a:gd name="connsiteY0" fmla="*/ 16523 h 18501"/>
              <a:gd name="connsiteX1" fmla="*/ 14488 w 18501"/>
              <a:gd name="connsiteY1" fmla="*/ 6717 h 18501"/>
              <a:gd name="connsiteX2" fmla="*/ 6717 w 18501"/>
              <a:gd name="connsiteY2" fmla="*/ 16523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6523"/>
                </a:moveTo>
                <a:cubicBezTo>
                  <a:pt x="9677" y="13655"/>
                  <a:pt x="12267" y="10325"/>
                  <a:pt x="14488" y="6717"/>
                </a:cubicBezTo>
                <a:cubicBezTo>
                  <a:pt x="12175" y="10325"/>
                  <a:pt x="9677" y="13748"/>
                  <a:pt x="6717" y="1652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2" name="Freeform: Shape 661">
            <a:extLst>
              <a:ext uri="{FF2B5EF4-FFF2-40B4-BE49-F238E27FC236}">
                <a16:creationId xmlns="" xmlns:a16="http://schemas.microsoft.com/office/drawing/2014/main" id="{B463CB01-F556-4385-A9BD-AF1620ADD8B5}"/>
              </a:ext>
            </a:extLst>
          </p:cNvPr>
          <p:cNvSpPr/>
          <p:nvPr/>
        </p:nvSpPr>
        <p:spPr>
          <a:xfrm>
            <a:off x="121963" y="4127844"/>
            <a:ext cx="18502" cy="18502"/>
          </a:xfrm>
          <a:custGeom>
            <a:avLst/>
            <a:gdLst>
              <a:gd name="connsiteX0" fmla="*/ 16060 w 18501"/>
              <a:gd name="connsiteY0" fmla="*/ 20778 h 18501"/>
              <a:gd name="connsiteX1" fmla="*/ 6717 w 18501"/>
              <a:gd name="connsiteY1" fmla="*/ 6717 h 18501"/>
              <a:gd name="connsiteX2" fmla="*/ 16060 w 18501"/>
              <a:gd name="connsiteY2" fmla="*/ 20778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6060" y="20778"/>
                </a:moveTo>
                <a:cubicBezTo>
                  <a:pt x="12452" y="16893"/>
                  <a:pt x="9307" y="12267"/>
                  <a:pt x="6717" y="6717"/>
                </a:cubicBezTo>
                <a:cubicBezTo>
                  <a:pt x="9307" y="12267"/>
                  <a:pt x="12452" y="16893"/>
                  <a:pt x="16060" y="2077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3" name="Freeform: Shape 662">
            <a:extLst>
              <a:ext uri="{FF2B5EF4-FFF2-40B4-BE49-F238E27FC236}">
                <a16:creationId xmlns="" xmlns:a16="http://schemas.microsoft.com/office/drawing/2014/main" id="{CA640961-22A5-467C-8104-5ECECF8B1916}"/>
              </a:ext>
            </a:extLst>
          </p:cNvPr>
          <p:cNvSpPr/>
          <p:nvPr/>
        </p:nvSpPr>
        <p:spPr>
          <a:xfrm>
            <a:off x="153509" y="4155319"/>
            <a:ext cx="55505" cy="9251"/>
          </a:xfrm>
          <a:custGeom>
            <a:avLst/>
            <a:gdLst>
              <a:gd name="connsiteX0" fmla="*/ 51306 w 55505"/>
              <a:gd name="connsiteY0" fmla="*/ 11712 h 9250"/>
              <a:gd name="connsiteX1" fmla="*/ 6717 w 55505"/>
              <a:gd name="connsiteY1" fmla="*/ 6717 h 9250"/>
              <a:gd name="connsiteX2" fmla="*/ 51306 w 55505"/>
              <a:gd name="connsiteY2" fmla="*/ 11712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505" h="9250">
                <a:moveTo>
                  <a:pt x="51306" y="11712"/>
                </a:moveTo>
                <a:cubicBezTo>
                  <a:pt x="33822" y="11620"/>
                  <a:pt x="18928" y="10602"/>
                  <a:pt x="6717" y="6717"/>
                </a:cubicBezTo>
                <a:cubicBezTo>
                  <a:pt x="18928" y="10602"/>
                  <a:pt x="33822" y="11620"/>
                  <a:pt x="51306" y="1171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4" name="Freeform: Shape 663">
            <a:extLst>
              <a:ext uri="{FF2B5EF4-FFF2-40B4-BE49-F238E27FC236}">
                <a16:creationId xmlns="" xmlns:a16="http://schemas.microsoft.com/office/drawing/2014/main" id="{14AA10A0-733B-4BE8-B94A-C3430D87A7C7}"/>
              </a:ext>
            </a:extLst>
          </p:cNvPr>
          <p:cNvSpPr/>
          <p:nvPr/>
        </p:nvSpPr>
        <p:spPr>
          <a:xfrm>
            <a:off x="258044" y="4159667"/>
            <a:ext cx="64756" cy="9251"/>
          </a:xfrm>
          <a:custGeom>
            <a:avLst/>
            <a:gdLst>
              <a:gd name="connsiteX0" fmla="*/ 6717 w 64756"/>
              <a:gd name="connsiteY0" fmla="*/ 6717 h 9250"/>
              <a:gd name="connsiteX1" fmla="*/ 58614 w 64756"/>
              <a:gd name="connsiteY1" fmla="*/ 9215 h 9250"/>
              <a:gd name="connsiteX2" fmla="*/ 58614 w 64756"/>
              <a:gd name="connsiteY2" fmla="*/ 9215 h 9250"/>
              <a:gd name="connsiteX3" fmla="*/ 6717 w 64756"/>
              <a:gd name="connsiteY3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9250">
                <a:moveTo>
                  <a:pt x="6717" y="6717"/>
                </a:moveTo>
                <a:cubicBezTo>
                  <a:pt x="22813" y="6809"/>
                  <a:pt x="40112" y="7364"/>
                  <a:pt x="58614" y="9215"/>
                </a:cubicBezTo>
                <a:lnTo>
                  <a:pt x="58614" y="9215"/>
                </a:lnTo>
                <a:cubicBezTo>
                  <a:pt x="40112" y="7364"/>
                  <a:pt x="22813" y="6809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5" name="Freeform: Shape 664">
            <a:extLst>
              <a:ext uri="{FF2B5EF4-FFF2-40B4-BE49-F238E27FC236}">
                <a16:creationId xmlns="" xmlns:a16="http://schemas.microsoft.com/office/drawing/2014/main" id="{DA8D1F1A-9034-48DD-92F6-B54D7AB44446}"/>
              </a:ext>
            </a:extLst>
          </p:cNvPr>
          <p:cNvSpPr/>
          <p:nvPr/>
        </p:nvSpPr>
        <p:spPr>
          <a:xfrm>
            <a:off x="234639" y="4075021"/>
            <a:ext cx="46255" cy="18502"/>
          </a:xfrm>
          <a:custGeom>
            <a:avLst/>
            <a:gdLst>
              <a:gd name="connsiteX0" fmla="*/ 6717 w 46254"/>
              <a:gd name="connsiteY0" fmla="*/ 18465 h 18501"/>
              <a:gd name="connsiteX1" fmla="*/ 6717 w 46254"/>
              <a:gd name="connsiteY1" fmla="*/ 18465 h 18501"/>
              <a:gd name="connsiteX2" fmla="*/ 42610 w 46254"/>
              <a:gd name="connsiteY2" fmla="*/ 6717 h 18501"/>
              <a:gd name="connsiteX3" fmla="*/ 6717 w 46254"/>
              <a:gd name="connsiteY3" fmla="*/ 1846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18501">
                <a:moveTo>
                  <a:pt x="6717" y="18465"/>
                </a:moveTo>
                <a:cubicBezTo>
                  <a:pt x="6717" y="18465"/>
                  <a:pt x="6717" y="18465"/>
                  <a:pt x="6717" y="18465"/>
                </a:cubicBezTo>
                <a:cubicBezTo>
                  <a:pt x="20593" y="18280"/>
                  <a:pt x="33174" y="14025"/>
                  <a:pt x="42610" y="6717"/>
                </a:cubicBezTo>
                <a:cubicBezTo>
                  <a:pt x="33174" y="14025"/>
                  <a:pt x="20686" y="18373"/>
                  <a:pt x="6717" y="1846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6" name="Freeform: Shape 665">
            <a:extLst>
              <a:ext uri="{FF2B5EF4-FFF2-40B4-BE49-F238E27FC236}">
                <a16:creationId xmlns="" xmlns:a16="http://schemas.microsoft.com/office/drawing/2014/main" id="{E8F40DBE-0F4A-4E1A-AD39-61DA9053D882}"/>
              </a:ext>
            </a:extLst>
          </p:cNvPr>
          <p:cNvSpPr/>
          <p:nvPr/>
        </p:nvSpPr>
        <p:spPr>
          <a:xfrm>
            <a:off x="1206724" y="3567610"/>
            <a:ext cx="111011" cy="92509"/>
          </a:xfrm>
          <a:custGeom>
            <a:avLst/>
            <a:gdLst>
              <a:gd name="connsiteX0" fmla="*/ 110142 w 111010"/>
              <a:gd name="connsiteY0" fmla="*/ 6717 h 92508"/>
              <a:gd name="connsiteX1" fmla="*/ 110142 w 111010"/>
              <a:gd name="connsiteY1" fmla="*/ 6717 h 92508"/>
              <a:gd name="connsiteX2" fmla="*/ 6717 w 111010"/>
              <a:gd name="connsiteY2" fmla="*/ 90160 h 92508"/>
              <a:gd name="connsiteX3" fmla="*/ 110142 w 111010"/>
              <a:gd name="connsiteY3" fmla="*/ 6717 h 9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010" h="92508">
                <a:moveTo>
                  <a:pt x="110142" y="6717"/>
                </a:moveTo>
                <a:lnTo>
                  <a:pt x="110142" y="6717"/>
                </a:lnTo>
                <a:cubicBezTo>
                  <a:pt x="64072" y="38355"/>
                  <a:pt x="33452" y="71196"/>
                  <a:pt x="6717" y="90160"/>
                </a:cubicBezTo>
                <a:cubicBezTo>
                  <a:pt x="33359" y="71196"/>
                  <a:pt x="63980" y="38355"/>
                  <a:pt x="11014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7" name="Freeform: Shape 666">
            <a:extLst>
              <a:ext uri="{FF2B5EF4-FFF2-40B4-BE49-F238E27FC236}">
                <a16:creationId xmlns="" xmlns:a16="http://schemas.microsoft.com/office/drawing/2014/main" id="{632CBFCF-BB16-42B9-9631-083A94893E43}"/>
              </a:ext>
            </a:extLst>
          </p:cNvPr>
          <p:cNvSpPr/>
          <p:nvPr/>
        </p:nvSpPr>
        <p:spPr>
          <a:xfrm>
            <a:off x="1180729" y="3651053"/>
            <a:ext cx="37004" cy="18502"/>
          </a:xfrm>
          <a:custGeom>
            <a:avLst/>
            <a:gdLst>
              <a:gd name="connsiteX0" fmla="*/ 32619 w 37003"/>
              <a:gd name="connsiteY0" fmla="*/ 6717 h 18501"/>
              <a:gd name="connsiteX1" fmla="*/ 6717 w 37003"/>
              <a:gd name="connsiteY1" fmla="*/ 20500 h 18501"/>
              <a:gd name="connsiteX2" fmla="*/ 32619 w 37003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18501">
                <a:moveTo>
                  <a:pt x="32619" y="6717"/>
                </a:moveTo>
                <a:cubicBezTo>
                  <a:pt x="23738" y="13007"/>
                  <a:pt x="15228" y="17818"/>
                  <a:pt x="6717" y="20500"/>
                </a:cubicBezTo>
                <a:cubicBezTo>
                  <a:pt x="15228" y="17818"/>
                  <a:pt x="23738" y="13007"/>
                  <a:pt x="32619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8" name="Freeform: Shape 667">
            <a:extLst>
              <a:ext uri="{FF2B5EF4-FFF2-40B4-BE49-F238E27FC236}">
                <a16:creationId xmlns="" xmlns:a16="http://schemas.microsoft.com/office/drawing/2014/main" id="{5FCA0554-370B-4540-80E1-13576FD873DE}"/>
              </a:ext>
            </a:extLst>
          </p:cNvPr>
          <p:cNvSpPr/>
          <p:nvPr/>
        </p:nvSpPr>
        <p:spPr>
          <a:xfrm>
            <a:off x="1203949" y="3518672"/>
            <a:ext cx="27753" cy="46254"/>
          </a:xfrm>
          <a:custGeom>
            <a:avLst/>
            <a:gdLst>
              <a:gd name="connsiteX0" fmla="*/ 27809 w 27752"/>
              <a:gd name="connsiteY0" fmla="*/ 6717 h 46254"/>
              <a:gd name="connsiteX1" fmla="*/ 6717 w 27752"/>
              <a:gd name="connsiteY1" fmla="*/ 46311 h 46254"/>
              <a:gd name="connsiteX2" fmla="*/ 6717 w 27752"/>
              <a:gd name="connsiteY2" fmla="*/ 46311 h 46254"/>
              <a:gd name="connsiteX3" fmla="*/ 27809 w 27752"/>
              <a:gd name="connsiteY3" fmla="*/ 6717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46254">
                <a:moveTo>
                  <a:pt x="27809" y="6717"/>
                </a:moveTo>
                <a:cubicBezTo>
                  <a:pt x="26976" y="20963"/>
                  <a:pt x="19575" y="35302"/>
                  <a:pt x="6717" y="46311"/>
                </a:cubicBezTo>
                <a:cubicBezTo>
                  <a:pt x="6717" y="46311"/>
                  <a:pt x="6717" y="46311"/>
                  <a:pt x="6717" y="46311"/>
                </a:cubicBezTo>
                <a:cubicBezTo>
                  <a:pt x="19575" y="35302"/>
                  <a:pt x="26976" y="20963"/>
                  <a:pt x="27809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69" name="Freeform: Shape 668">
            <a:extLst>
              <a:ext uri="{FF2B5EF4-FFF2-40B4-BE49-F238E27FC236}">
                <a16:creationId xmlns="" xmlns:a16="http://schemas.microsoft.com/office/drawing/2014/main" id="{DA58117A-6FA5-4873-A23F-8DB6C30F6AE0}"/>
              </a:ext>
            </a:extLst>
          </p:cNvPr>
          <p:cNvSpPr/>
          <p:nvPr/>
        </p:nvSpPr>
        <p:spPr>
          <a:xfrm>
            <a:off x="1170553" y="3664837"/>
            <a:ext cx="18502" cy="9251"/>
          </a:xfrm>
          <a:custGeom>
            <a:avLst/>
            <a:gdLst>
              <a:gd name="connsiteX0" fmla="*/ 16893 w 18501"/>
              <a:gd name="connsiteY0" fmla="*/ 6717 h 9250"/>
              <a:gd name="connsiteX1" fmla="*/ 6717 w 18501"/>
              <a:gd name="connsiteY1" fmla="*/ 8845 h 9250"/>
              <a:gd name="connsiteX2" fmla="*/ 16893 w 18501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16893" y="6717"/>
                </a:moveTo>
                <a:cubicBezTo>
                  <a:pt x="13470" y="7827"/>
                  <a:pt x="10140" y="8567"/>
                  <a:pt x="6717" y="8845"/>
                </a:cubicBezTo>
                <a:cubicBezTo>
                  <a:pt x="10140" y="8474"/>
                  <a:pt x="13562" y="7734"/>
                  <a:pt x="16893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0" name="Freeform: Shape 669">
            <a:extLst>
              <a:ext uri="{FF2B5EF4-FFF2-40B4-BE49-F238E27FC236}">
                <a16:creationId xmlns="" xmlns:a16="http://schemas.microsoft.com/office/drawing/2014/main" id="{23171359-D7B2-4B5E-9041-4C38463EB8F6}"/>
              </a:ext>
            </a:extLst>
          </p:cNvPr>
          <p:cNvSpPr/>
          <p:nvPr/>
        </p:nvSpPr>
        <p:spPr>
          <a:xfrm>
            <a:off x="1216067" y="3592310"/>
            <a:ext cx="9251" cy="27753"/>
          </a:xfrm>
          <a:custGeom>
            <a:avLst/>
            <a:gdLst>
              <a:gd name="connsiteX0" fmla="*/ 8752 w 9250"/>
              <a:gd name="connsiteY0" fmla="*/ 6717 h 27752"/>
              <a:gd name="connsiteX1" fmla="*/ 6717 w 9250"/>
              <a:gd name="connsiteY1" fmla="*/ 23738 h 27752"/>
              <a:gd name="connsiteX2" fmla="*/ 8752 w 9250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27752">
                <a:moveTo>
                  <a:pt x="8752" y="6717"/>
                </a:moveTo>
                <a:cubicBezTo>
                  <a:pt x="9122" y="12545"/>
                  <a:pt x="8474" y="18280"/>
                  <a:pt x="6717" y="23738"/>
                </a:cubicBezTo>
                <a:cubicBezTo>
                  <a:pt x="8474" y="18280"/>
                  <a:pt x="9122" y="12545"/>
                  <a:pt x="875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1" name="Freeform: Shape 670">
            <a:extLst>
              <a:ext uri="{FF2B5EF4-FFF2-40B4-BE49-F238E27FC236}">
                <a16:creationId xmlns="" xmlns:a16="http://schemas.microsoft.com/office/drawing/2014/main" id="{C14F2AB4-7F1D-41D2-84B3-946D23E44E0A}"/>
              </a:ext>
            </a:extLst>
          </p:cNvPr>
          <p:cNvSpPr/>
          <p:nvPr/>
        </p:nvSpPr>
        <p:spPr>
          <a:xfrm>
            <a:off x="1657428" y="2568512"/>
            <a:ext cx="27753" cy="64756"/>
          </a:xfrm>
          <a:custGeom>
            <a:avLst/>
            <a:gdLst>
              <a:gd name="connsiteX0" fmla="*/ 23923 w 27752"/>
              <a:gd name="connsiteY0" fmla="*/ 6717 h 64756"/>
              <a:gd name="connsiteX1" fmla="*/ 6717 w 27752"/>
              <a:gd name="connsiteY1" fmla="*/ 65090 h 64756"/>
              <a:gd name="connsiteX2" fmla="*/ 23923 w 27752"/>
              <a:gd name="connsiteY2" fmla="*/ 6717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64756">
                <a:moveTo>
                  <a:pt x="23923" y="6717"/>
                </a:moveTo>
                <a:cubicBezTo>
                  <a:pt x="19946" y="31139"/>
                  <a:pt x="15690" y="50936"/>
                  <a:pt x="6717" y="65090"/>
                </a:cubicBezTo>
                <a:cubicBezTo>
                  <a:pt x="15783" y="51029"/>
                  <a:pt x="19946" y="31232"/>
                  <a:pt x="23923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2" name="Freeform: Shape 671">
            <a:extLst>
              <a:ext uri="{FF2B5EF4-FFF2-40B4-BE49-F238E27FC236}">
                <a16:creationId xmlns="" xmlns:a16="http://schemas.microsoft.com/office/drawing/2014/main" id="{53B5F338-B5F1-4031-B71E-D9B8BC74B4A0}"/>
              </a:ext>
            </a:extLst>
          </p:cNvPr>
          <p:cNvSpPr/>
          <p:nvPr/>
        </p:nvSpPr>
        <p:spPr>
          <a:xfrm>
            <a:off x="1684440" y="2469250"/>
            <a:ext cx="18502" cy="46254"/>
          </a:xfrm>
          <a:custGeom>
            <a:avLst/>
            <a:gdLst>
              <a:gd name="connsiteX0" fmla="*/ 16338 w 18501"/>
              <a:gd name="connsiteY0" fmla="*/ 6717 h 46254"/>
              <a:gd name="connsiteX1" fmla="*/ 16338 w 18501"/>
              <a:gd name="connsiteY1" fmla="*/ 6717 h 46254"/>
              <a:gd name="connsiteX2" fmla="*/ 6717 w 18501"/>
              <a:gd name="connsiteY2" fmla="*/ 47790 h 46254"/>
              <a:gd name="connsiteX3" fmla="*/ 16338 w 18501"/>
              <a:gd name="connsiteY3" fmla="*/ 6717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46254">
                <a:moveTo>
                  <a:pt x="16338" y="6717"/>
                </a:moveTo>
                <a:lnTo>
                  <a:pt x="16338" y="6717"/>
                </a:lnTo>
                <a:cubicBezTo>
                  <a:pt x="12360" y="21056"/>
                  <a:pt x="9215" y="34839"/>
                  <a:pt x="6717" y="47790"/>
                </a:cubicBezTo>
                <a:cubicBezTo>
                  <a:pt x="9215" y="34839"/>
                  <a:pt x="12360" y="21056"/>
                  <a:pt x="16338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3" name="Freeform: Shape 672">
            <a:extLst>
              <a:ext uri="{FF2B5EF4-FFF2-40B4-BE49-F238E27FC236}">
                <a16:creationId xmlns="" xmlns:a16="http://schemas.microsoft.com/office/drawing/2014/main" id="{2AD67AB5-5A56-4A1A-813D-F57E26204724}"/>
              </a:ext>
            </a:extLst>
          </p:cNvPr>
          <p:cNvSpPr/>
          <p:nvPr/>
        </p:nvSpPr>
        <p:spPr>
          <a:xfrm>
            <a:off x="1651137" y="2626886"/>
            <a:ext cx="18502" cy="18502"/>
          </a:xfrm>
          <a:custGeom>
            <a:avLst/>
            <a:gdLst>
              <a:gd name="connsiteX0" fmla="*/ 13100 w 18501"/>
              <a:gd name="connsiteY0" fmla="*/ 6717 h 18501"/>
              <a:gd name="connsiteX1" fmla="*/ 6717 w 18501"/>
              <a:gd name="connsiteY1" fmla="*/ 14950 h 18501"/>
              <a:gd name="connsiteX2" fmla="*/ 13100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3100" y="6717"/>
                </a:moveTo>
                <a:cubicBezTo>
                  <a:pt x="11157" y="9677"/>
                  <a:pt x="9029" y="12452"/>
                  <a:pt x="6717" y="14950"/>
                </a:cubicBezTo>
                <a:cubicBezTo>
                  <a:pt x="9029" y="12452"/>
                  <a:pt x="11157" y="9677"/>
                  <a:pt x="13100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4" name="Freeform: Shape 673">
            <a:extLst>
              <a:ext uri="{FF2B5EF4-FFF2-40B4-BE49-F238E27FC236}">
                <a16:creationId xmlns="" xmlns:a16="http://schemas.microsoft.com/office/drawing/2014/main" id="{D3E45EE3-1F91-4828-BB45-C4D137098575}"/>
              </a:ext>
            </a:extLst>
          </p:cNvPr>
          <p:cNvSpPr/>
          <p:nvPr/>
        </p:nvSpPr>
        <p:spPr>
          <a:xfrm>
            <a:off x="1676115" y="2542147"/>
            <a:ext cx="9251" cy="27753"/>
          </a:xfrm>
          <a:custGeom>
            <a:avLst/>
            <a:gdLst>
              <a:gd name="connsiteX0" fmla="*/ 9492 w 9250"/>
              <a:gd name="connsiteY0" fmla="*/ 6717 h 27752"/>
              <a:gd name="connsiteX1" fmla="*/ 6717 w 9250"/>
              <a:gd name="connsiteY1" fmla="*/ 24016 h 27752"/>
              <a:gd name="connsiteX2" fmla="*/ 9492 w 9250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27752">
                <a:moveTo>
                  <a:pt x="9492" y="6717"/>
                </a:moveTo>
                <a:cubicBezTo>
                  <a:pt x="8567" y="12730"/>
                  <a:pt x="7642" y="18466"/>
                  <a:pt x="6717" y="24016"/>
                </a:cubicBezTo>
                <a:cubicBezTo>
                  <a:pt x="7642" y="18466"/>
                  <a:pt x="8474" y="12730"/>
                  <a:pt x="949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5" name="Freeform: Shape 674">
            <a:extLst>
              <a:ext uri="{FF2B5EF4-FFF2-40B4-BE49-F238E27FC236}">
                <a16:creationId xmlns="" xmlns:a16="http://schemas.microsoft.com/office/drawing/2014/main" id="{C552C839-88F6-4221-87C3-78986DDA62E9}"/>
              </a:ext>
            </a:extLst>
          </p:cNvPr>
          <p:cNvSpPr/>
          <p:nvPr/>
        </p:nvSpPr>
        <p:spPr>
          <a:xfrm>
            <a:off x="1584901" y="2474986"/>
            <a:ext cx="27753" cy="64756"/>
          </a:xfrm>
          <a:custGeom>
            <a:avLst/>
            <a:gdLst>
              <a:gd name="connsiteX0" fmla="*/ 6717 w 27752"/>
              <a:gd name="connsiteY0" fmla="*/ 6717 h 64756"/>
              <a:gd name="connsiteX1" fmla="*/ 28549 w 27752"/>
              <a:gd name="connsiteY1" fmla="*/ 62130 h 64756"/>
              <a:gd name="connsiteX2" fmla="*/ 28549 w 27752"/>
              <a:gd name="connsiteY2" fmla="*/ 62130 h 64756"/>
              <a:gd name="connsiteX3" fmla="*/ 6717 w 27752"/>
              <a:gd name="connsiteY3" fmla="*/ 6717 h 6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64756">
                <a:moveTo>
                  <a:pt x="6717" y="6717"/>
                </a:moveTo>
                <a:cubicBezTo>
                  <a:pt x="23923" y="17263"/>
                  <a:pt x="32434" y="38817"/>
                  <a:pt x="28549" y="62130"/>
                </a:cubicBezTo>
                <a:cubicBezTo>
                  <a:pt x="28549" y="62130"/>
                  <a:pt x="28549" y="62130"/>
                  <a:pt x="28549" y="62130"/>
                </a:cubicBezTo>
                <a:cubicBezTo>
                  <a:pt x="32527" y="38725"/>
                  <a:pt x="24016" y="17170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6" name="Freeform: Shape 675">
            <a:extLst>
              <a:ext uri="{FF2B5EF4-FFF2-40B4-BE49-F238E27FC236}">
                <a16:creationId xmlns="" xmlns:a16="http://schemas.microsoft.com/office/drawing/2014/main" id="{B671E3CF-1B56-4F86-BC6B-888E2085ED89}"/>
              </a:ext>
            </a:extLst>
          </p:cNvPr>
          <p:cNvSpPr/>
          <p:nvPr/>
        </p:nvSpPr>
        <p:spPr>
          <a:xfrm>
            <a:off x="1639481" y="2547328"/>
            <a:ext cx="9251" cy="9251"/>
          </a:xfrm>
          <a:custGeom>
            <a:avLst/>
            <a:gdLst>
              <a:gd name="connsiteX0" fmla="*/ 6717 w 9250"/>
              <a:gd name="connsiteY0" fmla="*/ 6717 h 9250"/>
              <a:gd name="connsiteX1" fmla="*/ 7827 w 9250"/>
              <a:gd name="connsiteY1" fmla="*/ 8105 h 9250"/>
              <a:gd name="connsiteX2" fmla="*/ 6717 w 9250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6717" y="6717"/>
                </a:moveTo>
                <a:cubicBezTo>
                  <a:pt x="7087" y="7179"/>
                  <a:pt x="7457" y="7642"/>
                  <a:pt x="7827" y="8105"/>
                </a:cubicBezTo>
                <a:cubicBezTo>
                  <a:pt x="7457" y="7734"/>
                  <a:pt x="7087" y="7179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7" name="Freeform: Shape 676">
            <a:extLst>
              <a:ext uri="{FF2B5EF4-FFF2-40B4-BE49-F238E27FC236}">
                <a16:creationId xmlns="" xmlns:a16="http://schemas.microsoft.com/office/drawing/2014/main" id="{BE0F526E-F5CC-4757-AE84-ED3ABAF8CD87}"/>
              </a:ext>
            </a:extLst>
          </p:cNvPr>
          <p:cNvSpPr/>
          <p:nvPr/>
        </p:nvSpPr>
        <p:spPr>
          <a:xfrm>
            <a:off x="1646327" y="2556671"/>
            <a:ext cx="18502" cy="18502"/>
          </a:xfrm>
          <a:custGeom>
            <a:avLst/>
            <a:gdLst>
              <a:gd name="connsiteX0" fmla="*/ 11805 w 18501"/>
              <a:gd name="connsiteY0" fmla="*/ 19853 h 18501"/>
              <a:gd name="connsiteX1" fmla="*/ 6717 w 18501"/>
              <a:gd name="connsiteY1" fmla="*/ 6717 h 18501"/>
              <a:gd name="connsiteX2" fmla="*/ 11805 w 18501"/>
              <a:gd name="connsiteY2" fmla="*/ 19853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1805" y="19853"/>
                </a:moveTo>
                <a:cubicBezTo>
                  <a:pt x="10880" y="15228"/>
                  <a:pt x="9029" y="10880"/>
                  <a:pt x="6717" y="6717"/>
                </a:cubicBezTo>
                <a:cubicBezTo>
                  <a:pt x="9029" y="10880"/>
                  <a:pt x="10880" y="15228"/>
                  <a:pt x="11805" y="19853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8" name="Freeform: Shape 677">
            <a:extLst>
              <a:ext uri="{FF2B5EF4-FFF2-40B4-BE49-F238E27FC236}">
                <a16:creationId xmlns="" xmlns:a16="http://schemas.microsoft.com/office/drawing/2014/main" id="{7AD8F18A-662D-4146-BE3C-D37DDFA9438A}"/>
              </a:ext>
            </a:extLst>
          </p:cNvPr>
          <p:cNvSpPr/>
          <p:nvPr/>
        </p:nvSpPr>
        <p:spPr>
          <a:xfrm>
            <a:off x="1219305" y="1456369"/>
            <a:ext cx="46255" cy="37004"/>
          </a:xfrm>
          <a:custGeom>
            <a:avLst/>
            <a:gdLst>
              <a:gd name="connsiteX0" fmla="*/ 6717 w 46254"/>
              <a:gd name="connsiteY0" fmla="*/ 6717 h 37003"/>
              <a:gd name="connsiteX1" fmla="*/ 42055 w 46254"/>
              <a:gd name="connsiteY1" fmla="*/ 34377 h 37003"/>
              <a:gd name="connsiteX2" fmla="*/ 42055 w 46254"/>
              <a:gd name="connsiteY2" fmla="*/ 34377 h 37003"/>
              <a:gd name="connsiteX3" fmla="*/ 6717 w 46254"/>
              <a:gd name="connsiteY3" fmla="*/ 67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54" h="37003">
                <a:moveTo>
                  <a:pt x="6717" y="6717"/>
                </a:moveTo>
                <a:cubicBezTo>
                  <a:pt x="20593" y="10047"/>
                  <a:pt x="33452" y="19761"/>
                  <a:pt x="42055" y="34377"/>
                </a:cubicBezTo>
                <a:cubicBezTo>
                  <a:pt x="42055" y="34377"/>
                  <a:pt x="42055" y="34377"/>
                  <a:pt x="42055" y="34377"/>
                </a:cubicBezTo>
                <a:cubicBezTo>
                  <a:pt x="33452" y="19761"/>
                  <a:pt x="20593" y="995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9" name="Freeform: Shape 678">
            <a:extLst>
              <a:ext uri="{FF2B5EF4-FFF2-40B4-BE49-F238E27FC236}">
                <a16:creationId xmlns="" xmlns:a16="http://schemas.microsoft.com/office/drawing/2014/main" id="{2C539AF6-AA90-4FF3-9D1F-F43DCB0E82A3}"/>
              </a:ext>
            </a:extLst>
          </p:cNvPr>
          <p:cNvSpPr/>
          <p:nvPr/>
        </p:nvSpPr>
        <p:spPr>
          <a:xfrm>
            <a:off x="1136510" y="1504844"/>
            <a:ext cx="9251" cy="18502"/>
          </a:xfrm>
          <a:custGeom>
            <a:avLst/>
            <a:gdLst>
              <a:gd name="connsiteX0" fmla="*/ 8937 w 9250"/>
              <a:gd name="connsiteY0" fmla="*/ 19761 h 18501"/>
              <a:gd name="connsiteX1" fmla="*/ 6717 w 9250"/>
              <a:gd name="connsiteY1" fmla="*/ 6717 h 18501"/>
              <a:gd name="connsiteX2" fmla="*/ 8937 w 9250"/>
              <a:gd name="connsiteY2" fmla="*/ 19761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8937" y="19761"/>
                </a:moveTo>
                <a:cubicBezTo>
                  <a:pt x="7734" y="15135"/>
                  <a:pt x="6994" y="10787"/>
                  <a:pt x="6717" y="6717"/>
                </a:cubicBezTo>
                <a:cubicBezTo>
                  <a:pt x="6994" y="10787"/>
                  <a:pt x="7734" y="15135"/>
                  <a:pt x="8937" y="1976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0" name="Freeform: Shape 679">
            <a:extLst>
              <a:ext uri="{FF2B5EF4-FFF2-40B4-BE49-F238E27FC236}">
                <a16:creationId xmlns="" xmlns:a16="http://schemas.microsoft.com/office/drawing/2014/main" id="{72FBC7D8-853D-4E02-9040-9CB323FAC118}"/>
              </a:ext>
            </a:extLst>
          </p:cNvPr>
          <p:cNvSpPr/>
          <p:nvPr/>
        </p:nvSpPr>
        <p:spPr>
          <a:xfrm>
            <a:off x="1281749" y="1475695"/>
            <a:ext cx="27753" cy="9251"/>
          </a:xfrm>
          <a:custGeom>
            <a:avLst/>
            <a:gdLst>
              <a:gd name="connsiteX0" fmla="*/ 6717 w 27752"/>
              <a:gd name="connsiteY0" fmla="*/ 6818 h 9250"/>
              <a:gd name="connsiteX1" fmla="*/ 24016 w 27752"/>
              <a:gd name="connsiteY1" fmla="*/ 8760 h 9250"/>
              <a:gd name="connsiteX2" fmla="*/ 6717 w 27752"/>
              <a:gd name="connsiteY2" fmla="*/ 6818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9250">
                <a:moveTo>
                  <a:pt x="6717" y="6818"/>
                </a:moveTo>
                <a:cubicBezTo>
                  <a:pt x="12730" y="6448"/>
                  <a:pt x="18558" y="7095"/>
                  <a:pt x="24016" y="8760"/>
                </a:cubicBezTo>
                <a:cubicBezTo>
                  <a:pt x="18558" y="7095"/>
                  <a:pt x="12730" y="6448"/>
                  <a:pt x="6717" y="681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1" name="Freeform: Shape 680">
            <a:extLst>
              <a:ext uri="{FF2B5EF4-FFF2-40B4-BE49-F238E27FC236}">
                <a16:creationId xmlns="" xmlns:a16="http://schemas.microsoft.com/office/drawing/2014/main" id="{8EEA3449-14DD-4D02-9765-8833F016DD40}"/>
              </a:ext>
            </a:extLst>
          </p:cNvPr>
          <p:cNvSpPr/>
          <p:nvPr/>
        </p:nvSpPr>
        <p:spPr>
          <a:xfrm>
            <a:off x="1355478" y="1525289"/>
            <a:ext cx="9251" cy="18502"/>
          </a:xfrm>
          <a:custGeom>
            <a:avLst/>
            <a:gdLst>
              <a:gd name="connsiteX0" fmla="*/ 7087 w 9250"/>
              <a:gd name="connsiteY0" fmla="*/ 17170 h 18501"/>
              <a:gd name="connsiteX1" fmla="*/ 6717 w 9250"/>
              <a:gd name="connsiteY1" fmla="*/ 6717 h 18501"/>
              <a:gd name="connsiteX2" fmla="*/ 7087 w 9250"/>
              <a:gd name="connsiteY2" fmla="*/ 1717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7087" y="17170"/>
                </a:moveTo>
                <a:cubicBezTo>
                  <a:pt x="7364" y="13747"/>
                  <a:pt x="7179" y="10232"/>
                  <a:pt x="6717" y="6717"/>
                </a:cubicBezTo>
                <a:cubicBezTo>
                  <a:pt x="7272" y="10325"/>
                  <a:pt x="7364" y="13747"/>
                  <a:pt x="7087" y="1717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2" name="Freeform: Shape 681">
            <a:extLst>
              <a:ext uri="{FF2B5EF4-FFF2-40B4-BE49-F238E27FC236}">
                <a16:creationId xmlns="" xmlns:a16="http://schemas.microsoft.com/office/drawing/2014/main" id="{B035F868-8615-4922-8874-830486B2E111}"/>
              </a:ext>
            </a:extLst>
          </p:cNvPr>
          <p:cNvSpPr/>
          <p:nvPr/>
        </p:nvSpPr>
        <p:spPr>
          <a:xfrm>
            <a:off x="1352241" y="1540923"/>
            <a:ext cx="9251" cy="18502"/>
          </a:xfrm>
          <a:custGeom>
            <a:avLst/>
            <a:gdLst>
              <a:gd name="connsiteX0" fmla="*/ 9770 w 9250"/>
              <a:gd name="connsiteY0" fmla="*/ 6717 h 18501"/>
              <a:gd name="connsiteX1" fmla="*/ 6717 w 9250"/>
              <a:gd name="connsiteY1" fmla="*/ 16800 h 18501"/>
              <a:gd name="connsiteX2" fmla="*/ 9770 w 9250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9770" y="6717"/>
                </a:moveTo>
                <a:cubicBezTo>
                  <a:pt x="9122" y="10140"/>
                  <a:pt x="8104" y="13470"/>
                  <a:pt x="6717" y="16800"/>
                </a:cubicBezTo>
                <a:cubicBezTo>
                  <a:pt x="8104" y="13470"/>
                  <a:pt x="9122" y="10047"/>
                  <a:pt x="9770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3" name="Freeform: Shape 682">
            <a:extLst>
              <a:ext uri="{FF2B5EF4-FFF2-40B4-BE49-F238E27FC236}">
                <a16:creationId xmlns="" xmlns:a16="http://schemas.microsoft.com/office/drawing/2014/main" id="{FBA27ED0-B0D1-443F-8AE6-66A50A69078C}"/>
              </a:ext>
            </a:extLst>
          </p:cNvPr>
          <p:cNvSpPr/>
          <p:nvPr/>
        </p:nvSpPr>
        <p:spPr>
          <a:xfrm>
            <a:off x="1297938" y="1412613"/>
            <a:ext cx="27753" cy="46254"/>
          </a:xfrm>
          <a:custGeom>
            <a:avLst/>
            <a:gdLst>
              <a:gd name="connsiteX0" fmla="*/ 6717 w 27752"/>
              <a:gd name="connsiteY0" fmla="*/ 6717 h 46254"/>
              <a:gd name="connsiteX1" fmla="*/ 26514 w 27752"/>
              <a:gd name="connsiteY1" fmla="*/ 41315 h 46254"/>
              <a:gd name="connsiteX2" fmla="*/ 6717 w 27752"/>
              <a:gd name="connsiteY2" fmla="*/ 6717 h 4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46254">
                <a:moveTo>
                  <a:pt x="6717" y="6717"/>
                </a:moveTo>
                <a:cubicBezTo>
                  <a:pt x="13470" y="19206"/>
                  <a:pt x="20131" y="30677"/>
                  <a:pt x="26514" y="41315"/>
                </a:cubicBezTo>
                <a:cubicBezTo>
                  <a:pt x="20131" y="30677"/>
                  <a:pt x="13377" y="19206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4" name="Freeform: Shape 683">
            <a:extLst>
              <a:ext uri="{FF2B5EF4-FFF2-40B4-BE49-F238E27FC236}">
                <a16:creationId xmlns="" xmlns:a16="http://schemas.microsoft.com/office/drawing/2014/main" id="{FE681A4A-D038-4EAC-8504-5D693423C733}"/>
              </a:ext>
            </a:extLst>
          </p:cNvPr>
          <p:cNvSpPr/>
          <p:nvPr/>
        </p:nvSpPr>
        <p:spPr>
          <a:xfrm>
            <a:off x="1282211" y="1381067"/>
            <a:ext cx="18502" cy="27753"/>
          </a:xfrm>
          <a:custGeom>
            <a:avLst/>
            <a:gdLst>
              <a:gd name="connsiteX0" fmla="*/ 6717 w 18501"/>
              <a:gd name="connsiteY0" fmla="*/ 6717 h 27752"/>
              <a:gd name="connsiteX1" fmla="*/ 6717 w 18501"/>
              <a:gd name="connsiteY1" fmla="*/ 6717 h 27752"/>
              <a:gd name="connsiteX2" fmla="*/ 16153 w 18501"/>
              <a:gd name="connsiteY2" fmla="*/ 26329 h 27752"/>
              <a:gd name="connsiteX3" fmla="*/ 6717 w 18501"/>
              <a:gd name="connsiteY3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01" h="27752">
                <a:moveTo>
                  <a:pt x="6717" y="6717"/>
                </a:moveTo>
                <a:lnTo>
                  <a:pt x="6717" y="6717"/>
                </a:lnTo>
                <a:cubicBezTo>
                  <a:pt x="9770" y="13470"/>
                  <a:pt x="12915" y="20038"/>
                  <a:pt x="16153" y="26329"/>
                </a:cubicBezTo>
                <a:cubicBezTo>
                  <a:pt x="12915" y="20038"/>
                  <a:pt x="9770" y="13562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5" name="Freeform: Shape 684">
            <a:extLst>
              <a:ext uri="{FF2B5EF4-FFF2-40B4-BE49-F238E27FC236}">
                <a16:creationId xmlns="" xmlns:a16="http://schemas.microsoft.com/office/drawing/2014/main" id="{FE57F546-7DCB-4C7A-ACA6-00EAA42CD899}"/>
              </a:ext>
            </a:extLst>
          </p:cNvPr>
          <p:cNvSpPr/>
          <p:nvPr/>
        </p:nvSpPr>
        <p:spPr>
          <a:xfrm>
            <a:off x="1351778" y="1510395"/>
            <a:ext cx="9251" cy="18502"/>
          </a:xfrm>
          <a:custGeom>
            <a:avLst/>
            <a:gdLst>
              <a:gd name="connsiteX0" fmla="*/ 6717 w 9250"/>
              <a:gd name="connsiteY0" fmla="*/ 6717 h 18501"/>
              <a:gd name="connsiteX1" fmla="*/ 9214 w 9250"/>
              <a:gd name="connsiteY1" fmla="*/ 15228 h 18501"/>
              <a:gd name="connsiteX2" fmla="*/ 6717 w 9250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6717" y="6717"/>
                </a:moveTo>
                <a:cubicBezTo>
                  <a:pt x="7734" y="9585"/>
                  <a:pt x="8567" y="12452"/>
                  <a:pt x="9214" y="15228"/>
                </a:cubicBezTo>
                <a:cubicBezTo>
                  <a:pt x="8567" y="12452"/>
                  <a:pt x="7734" y="958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6" name="Freeform: Shape 685">
            <a:extLst>
              <a:ext uri="{FF2B5EF4-FFF2-40B4-BE49-F238E27FC236}">
                <a16:creationId xmlns="" xmlns:a16="http://schemas.microsoft.com/office/drawing/2014/main" id="{B29B2FF9-936B-4A76-80DC-FC00365B5293}"/>
              </a:ext>
            </a:extLst>
          </p:cNvPr>
          <p:cNvSpPr/>
          <p:nvPr/>
        </p:nvSpPr>
        <p:spPr>
          <a:xfrm>
            <a:off x="1331148" y="1469506"/>
            <a:ext cx="27753" cy="37004"/>
          </a:xfrm>
          <a:custGeom>
            <a:avLst/>
            <a:gdLst>
              <a:gd name="connsiteX0" fmla="*/ 6717 w 27752"/>
              <a:gd name="connsiteY0" fmla="*/ 6717 h 37003"/>
              <a:gd name="connsiteX1" fmla="*/ 22073 w 27752"/>
              <a:gd name="connsiteY1" fmla="*/ 34654 h 37003"/>
              <a:gd name="connsiteX2" fmla="*/ 6717 w 27752"/>
              <a:gd name="connsiteY2" fmla="*/ 6717 h 37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37003">
                <a:moveTo>
                  <a:pt x="6717" y="6717"/>
                </a:moveTo>
                <a:cubicBezTo>
                  <a:pt x="12637" y="16708"/>
                  <a:pt x="17910" y="25958"/>
                  <a:pt x="22073" y="34654"/>
                </a:cubicBezTo>
                <a:cubicBezTo>
                  <a:pt x="17910" y="25958"/>
                  <a:pt x="12637" y="16708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7" name="Freeform: Shape 686">
            <a:extLst>
              <a:ext uri="{FF2B5EF4-FFF2-40B4-BE49-F238E27FC236}">
                <a16:creationId xmlns="" xmlns:a16="http://schemas.microsoft.com/office/drawing/2014/main" id="{D0E38066-4B6D-4F09-9A3F-A3AA11487D29}"/>
              </a:ext>
            </a:extLst>
          </p:cNvPr>
          <p:cNvSpPr/>
          <p:nvPr/>
        </p:nvSpPr>
        <p:spPr>
          <a:xfrm>
            <a:off x="369147" y="851268"/>
            <a:ext cx="18502" cy="9251"/>
          </a:xfrm>
          <a:custGeom>
            <a:avLst/>
            <a:gdLst>
              <a:gd name="connsiteX0" fmla="*/ 6717 w 18501"/>
              <a:gd name="connsiteY0" fmla="*/ 6717 h 9250"/>
              <a:gd name="connsiteX1" fmla="*/ 11897 w 18501"/>
              <a:gd name="connsiteY1" fmla="*/ 8659 h 9250"/>
              <a:gd name="connsiteX2" fmla="*/ 6717 w 18501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6717" y="6717"/>
                </a:moveTo>
                <a:cubicBezTo>
                  <a:pt x="8474" y="7364"/>
                  <a:pt x="10232" y="8012"/>
                  <a:pt x="11897" y="8659"/>
                </a:cubicBezTo>
                <a:cubicBezTo>
                  <a:pt x="10232" y="8012"/>
                  <a:pt x="8474" y="7364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8" name="Freeform: Shape 687">
            <a:extLst>
              <a:ext uri="{FF2B5EF4-FFF2-40B4-BE49-F238E27FC236}">
                <a16:creationId xmlns="" xmlns:a16="http://schemas.microsoft.com/office/drawing/2014/main" id="{635127BB-4C29-43A5-90F3-383D9F06533B}"/>
              </a:ext>
            </a:extLst>
          </p:cNvPr>
          <p:cNvSpPr/>
          <p:nvPr/>
        </p:nvSpPr>
        <p:spPr>
          <a:xfrm>
            <a:off x="388574" y="858946"/>
            <a:ext cx="18502" cy="9251"/>
          </a:xfrm>
          <a:custGeom>
            <a:avLst/>
            <a:gdLst>
              <a:gd name="connsiteX0" fmla="*/ 6717 w 18501"/>
              <a:gd name="connsiteY0" fmla="*/ 6717 h 9250"/>
              <a:gd name="connsiteX1" fmla="*/ 15135 w 18501"/>
              <a:gd name="connsiteY1" fmla="*/ 10695 h 9250"/>
              <a:gd name="connsiteX2" fmla="*/ 6717 w 18501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6717" y="6717"/>
                </a:moveTo>
                <a:cubicBezTo>
                  <a:pt x="9677" y="8012"/>
                  <a:pt x="12545" y="9307"/>
                  <a:pt x="15135" y="10695"/>
                </a:cubicBezTo>
                <a:cubicBezTo>
                  <a:pt x="12545" y="9307"/>
                  <a:pt x="9677" y="8012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9" name="Freeform: Shape 688">
            <a:extLst>
              <a:ext uri="{FF2B5EF4-FFF2-40B4-BE49-F238E27FC236}">
                <a16:creationId xmlns="" xmlns:a16="http://schemas.microsoft.com/office/drawing/2014/main" id="{D1B3F79E-72B7-481C-9ACB-BA1BA404FF87}"/>
              </a:ext>
            </a:extLst>
          </p:cNvPr>
          <p:cNvSpPr/>
          <p:nvPr/>
        </p:nvSpPr>
        <p:spPr>
          <a:xfrm>
            <a:off x="396993" y="862924"/>
            <a:ext cx="18502" cy="9251"/>
          </a:xfrm>
          <a:custGeom>
            <a:avLst/>
            <a:gdLst>
              <a:gd name="connsiteX0" fmla="*/ 6717 w 18501"/>
              <a:gd name="connsiteY0" fmla="*/ 6717 h 9250"/>
              <a:gd name="connsiteX1" fmla="*/ 15135 w 18501"/>
              <a:gd name="connsiteY1" fmla="*/ 11527 h 9250"/>
              <a:gd name="connsiteX2" fmla="*/ 6717 w 18501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6717" y="6717"/>
                </a:moveTo>
                <a:cubicBezTo>
                  <a:pt x="9677" y="8289"/>
                  <a:pt x="12545" y="9862"/>
                  <a:pt x="15135" y="11527"/>
                </a:cubicBezTo>
                <a:cubicBezTo>
                  <a:pt x="12545" y="9862"/>
                  <a:pt x="9770" y="819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0" name="Freeform: Shape 689">
            <a:extLst>
              <a:ext uri="{FF2B5EF4-FFF2-40B4-BE49-F238E27FC236}">
                <a16:creationId xmlns="" xmlns:a16="http://schemas.microsoft.com/office/drawing/2014/main" id="{0BC262CD-7E59-4C01-B732-490B4F80A91E}"/>
              </a:ext>
            </a:extLst>
          </p:cNvPr>
          <p:cNvSpPr/>
          <p:nvPr/>
        </p:nvSpPr>
        <p:spPr>
          <a:xfrm>
            <a:off x="253881" y="905032"/>
            <a:ext cx="64756" cy="27753"/>
          </a:xfrm>
          <a:custGeom>
            <a:avLst/>
            <a:gdLst>
              <a:gd name="connsiteX0" fmla="*/ 6717 w 64756"/>
              <a:gd name="connsiteY0" fmla="*/ 22427 h 27752"/>
              <a:gd name="connsiteX1" fmla="*/ 65090 w 64756"/>
              <a:gd name="connsiteY1" fmla="*/ 10493 h 27752"/>
              <a:gd name="connsiteX2" fmla="*/ 65090 w 64756"/>
              <a:gd name="connsiteY2" fmla="*/ 10493 h 27752"/>
              <a:gd name="connsiteX3" fmla="*/ 6717 w 64756"/>
              <a:gd name="connsiteY3" fmla="*/ 2242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27752">
                <a:moveTo>
                  <a:pt x="6717" y="22427"/>
                </a:moveTo>
                <a:cubicBezTo>
                  <a:pt x="20038" y="7255"/>
                  <a:pt x="42795" y="2630"/>
                  <a:pt x="65090" y="10493"/>
                </a:cubicBezTo>
                <a:cubicBezTo>
                  <a:pt x="65090" y="10493"/>
                  <a:pt x="65090" y="10493"/>
                  <a:pt x="65090" y="10493"/>
                </a:cubicBezTo>
                <a:cubicBezTo>
                  <a:pt x="42795" y="2630"/>
                  <a:pt x="20131" y="7255"/>
                  <a:pt x="6717" y="2242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1" name="Freeform: Shape 690">
            <a:extLst>
              <a:ext uri="{FF2B5EF4-FFF2-40B4-BE49-F238E27FC236}">
                <a16:creationId xmlns="" xmlns:a16="http://schemas.microsoft.com/office/drawing/2014/main" id="{438EE327-FE26-4D41-8BC2-44D24EA3AF83}"/>
              </a:ext>
            </a:extLst>
          </p:cNvPr>
          <p:cNvSpPr/>
          <p:nvPr/>
        </p:nvSpPr>
        <p:spPr>
          <a:xfrm>
            <a:off x="327796" y="882721"/>
            <a:ext cx="9251" cy="9251"/>
          </a:xfrm>
          <a:custGeom>
            <a:avLst/>
            <a:gdLst>
              <a:gd name="connsiteX0" fmla="*/ 6717 w 9250"/>
              <a:gd name="connsiteY0" fmla="*/ 9029 h 9250"/>
              <a:gd name="connsiteX1" fmla="*/ 9585 w 9250"/>
              <a:gd name="connsiteY1" fmla="*/ 6717 h 9250"/>
              <a:gd name="connsiteX2" fmla="*/ 6717 w 9250"/>
              <a:gd name="connsiteY2" fmla="*/ 9029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6717" y="9029"/>
                </a:moveTo>
                <a:cubicBezTo>
                  <a:pt x="7642" y="8197"/>
                  <a:pt x="8659" y="7549"/>
                  <a:pt x="9585" y="6717"/>
                </a:cubicBezTo>
                <a:cubicBezTo>
                  <a:pt x="8567" y="7549"/>
                  <a:pt x="7549" y="8197"/>
                  <a:pt x="6717" y="902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2" name="Freeform: Shape 691">
            <a:extLst>
              <a:ext uri="{FF2B5EF4-FFF2-40B4-BE49-F238E27FC236}">
                <a16:creationId xmlns="" xmlns:a16="http://schemas.microsoft.com/office/drawing/2014/main" id="{6AA3580F-B7CB-41D1-AFB8-F193CD8204F4}"/>
              </a:ext>
            </a:extLst>
          </p:cNvPr>
          <p:cNvSpPr/>
          <p:nvPr/>
        </p:nvSpPr>
        <p:spPr>
          <a:xfrm>
            <a:off x="734558" y="3860771"/>
            <a:ext cx="18502" cy="27753"/>
          </a:xfrm>
          <a:custGeom>
            <a:avLst/>
            <a:gdLst>
              <a:gd name="connsiteX0" fmla="*/ 17540 w 18501"/>
              <a:gd name="connsiteY0" fmla="*/ 22628 h 27752"/>
              <a:gd name="connsiteX1" fmla="*/ 6717 w 18501"/>
              <a:gd name="connsiteY1" fmla="*/ 6717 h 27752"/>
              <a:gd name="connsiteX2" fmla="*/ 17540 w 18501"/>
              <a:gd name="connsiteY2" fmla="*/ 22628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27752">
                <a:moveTo>
                  <a:pt x="17540" y="22628"/>
                </a:moveTo>
                <a:cubicBezTo>
                  <a:pt x="13377" y="17170"/>
                  <a:pt x="9770" y="11897"/>
                  <a:pt x="6717" y="6717"/>
                </a:cubicBezTo>
                <a:cubicBezTo>
                  <a:pt x="9770" y="11897"/>
                  <a:pt x="13377" y="17170"/>
                  <a:pt x="17540" y="2262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3" name="Freeform: Shape 692">
            <a:extLst>
              <a:ext uri="{FF2B5EF4-FFF2-40B4-BE49-F238E27FC236}">
                <a16:creationId xmlns="" xmlns:a16="http://schemas.microsoft.com/office/drawing/2014/main" id="{C11184B1-95D4-4FE7-AC3A-5FF90AE16EC4}"/>
              </a:ext>
            </a:extLst>
          </p:cNvPr>
          <p:cNvSpPr/>
          <p:nvPr/>
        </p:nvSpPr>
        <p:spPr>
          <a:xfrm>
            <a:off x="725400" y="3835238"/>
            <a:ext cx="9251" cy="27753"/>
          </a:xfrm>
          <a:custGeom>
            <a:avLst/>
            <a:gdLst>
              <a:gd name="connsiteX0" fmla="*/ 10787 w 9250"/>
              <a:gd name="connsiteY0" fmla="*/ 21981 h 27752"/>
              <a:gd name="connsiteX1" fmla="*/ 6717 w 9250"/>
              <a:gd name="connsiteY1" fmla="*/ 6717 h 27752"/>
              <a:gd name="connsiteX2" fmla="*/ 10787 w 9250"/>
              <a:gd name="connsiteY2" fmla="*/ 21981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27752">
                <a:moveTo>
                  <a:pt x="10787" y="21981"/>
                </a:moveTo>
                <a:cubicBezTo>
                  <a:pt x="8659" y="16893"/>
                  <a:pt x="7272" y="11805"/>
                  <a:pt x="6717" y="6717"/>
                </a:cubicBezTo>
                <a:cubicBezTo>
                  <a:pt x="7364" y="11805"/>
                  <a:pt x="8752" y="16893"/>
                  <a:pt x="10787" y="21981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4" name="Freeform: Shape 693">
            <a:extLst>
              <a:ext uri="{FF2B5EF4-FFF2-40B4-BE49-F238E27FC236}">
                <a16:creationId xmlns="" xmlns:a16="http://schemas.microsoft.com/office/drawing/2014/main" id="{9167063C-F538-418B-BEE7-8A44C76179A1}"/>
              </a:ext>
            </a:extLst>
          </p:cNvPr>
          <p:cNvSpPr/>
          <p:nvPr/>
        </p:nvSpPr>
        <p:spPr>
          <a:xfrm>
            <a:off x="834190" y="3868634"/>
            <a:ext cx="37004" cy="27753"/>
          </a:xfrm>
          <a:custGeom>
            <a:avLst/>
            <a:gdLst>
              <a:gd name="connsiteX0" fmla="*/ 39095 w 37003"/>
              <a:gd name="connsiteY0" fmla="*/ 26699 h 27752"/>
              <a:gd name="connsiteX1" fmla="*/ 6717 w 37003"/>
              <a:gd name="connsiteY1" fmla="*/ 6717 h 27752"/>
              <a:gd name="connsiteX2" fmla="*/ 6717 w 37003"/>
              <a:gd name="connsiteY2" fmla="*/ 6717 h 27752"/>
              <a:gd name="connsiteX3" fmla="*/ 39095 w 37003"/>
              <a:gd name="connsiteY3" fmla="*/ 26699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03" h="27752">
                <a:moveTo>
                  <a:pt x="39095" y="26699"/>
                </a:moveTo>
                <a:cubicBezTo>
                  <a:pt x="27346" y="24201"/>
                  <a:pt x="15875" y="17355"/>
                  <a:pt x="6717" y="6717"/>
                </a:cubicBezTo>
                <a:cubicBezTo>
                  <a:pt x="6717" y="6717"/>
                  <a:pt x="6717" y="6717"/>
                  <a:pt x="6717" y="6717"/>
                </a:cubicBezTo>
                <a:cubicBezTo>
                  <a:pt x="15783" y="17355"/>
                  <a:pt x="27254" y="24108"/>
                  <a:pt x="39095" y="26699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5" name="Freeform: Shape 694">
            <a:extLst>
              <a:ext uri="{FF2B5EF4-FFF2-40B4-BE49-F238E27FC236}">
                <a16:creationId xmlns="" xmlns:a16="http://schemas.microsoft.com/office/drawing/2014/main" id="{624B6143-0760-4116-88CE-C1DEBAE71746}"/>
              </a:ext>
            </a:extLst>
          </p:cNvPr>
          <p:cNvSpPr/>
          <p:nvPr/>
        </p:nvSpPr>
        <p:spPr>
          <a:xfrm>
            <a:off x="745382" y="3876682"/>
            <a:ext cx="92509" cy="111011"/>
          </a:xfrm>
          <a:custGeom>
            <a:avLst/>
            <a:gdLst>
              <a:gd name="connsiteX0" fmla="*/ 86182 w 92509"/>
              <a:gd name="connsiteY0" fmla="*/ 104776 h 111010"/>
              <a:gd name="connsiteX1" fmla="*/ 86182 w 92509"/>
              <a:gd name="connsiteY1" fmla="*/ 104776 h 111010"/>
              <a:gd name="connsiteX2" fmla="*/ 6717 w 92509"/>
              <a:gd name="connsiteY2" fmla="*/ 6717 h 111010"/>
              <a:gd name="connsiteX3" fmla="*/ 86182 w 92509"/>
              <a:gd name="connsiteY3" fmla="*/ 104776 h 111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09" h="111010">
                <a:moveTo>
                  <a:pt x="86182" y="104776"/>
                </a:moveTo>
                <a:cubicBezTo>
                  <a:pt x="86182" y="104776"/>
                  <a:pt x="86182" y="104776"/>
                  <a:pt x="86182" y="104776"/>
                </a:cubicBezTo>
                <a:cubicBezTo>
                  <a:pt x="56672" y="61760"/>
                  <a:pt x="26051" y="32157"/>
                  <a:pt x="6717" y="6717"/>
                </a:cubicBezTo>
                <a:cubicBezTo>
                  <a:pt x="26144" y="32157"/>
                  <a:pt x="56672" y="61760"/>
                  <a:pt x="86182" y="104776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6" name="Freeform: Shape 695">
            <a:extLst>
              <a:ext uri="{FF2B5EF4-FFF2-40B4-BE49-F238E27FC236}">
                <a16:creationId xmlns="" xmlns:a16="http://schemas.microsoft.com/office/drawing/2014/main" id="{17F905FB-2584-4B6A-AC9E-EB2A508F52AE}"/>
              </a:ext>
            </a:extLst>
          </p:cNvPr>
          <p:cNvSpPr/>
          <p:nvPr/>
        </p:nvSpPr>
        <p:spPr>
          <a:xfrm>
            <a:off x="895894" y="3891761"/>
            <a:ext cx="37004" cy="27753"/>
          </a:xfrm>
          <a:custGeom>
            <a:avLst/>
            <a:gdLst>
              <a:gd name="connsiteX0" fmla="*/ 31232 w 37003"/>
              <a:gd name="connsiteY0" fmla="*/ 6717 h 27752"/>
              <a:gd name="connsiteX1" fmla="*/ 6717 w 37003"/>
              <a:gd name="connsiteY1" fmla="*/ 27531 h 27752"/>
              <a:gd name="connsiteX2" fmla="*/ 31232 w 37003"/>
              <a:gd name="connsiteY2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27752">
                <a:moveTo>
                  <a:pt x="31232" y="6717"/>
                </a:moveTo>
                <a:cubicBezTo>
                  <a:pt x="24108" y="13377"/>
                  <a:pt x="15783" y="20223"/>
                  <a:pt x="6717" y="27531"/>
                </a:cubicBezTo>
                <a:cubicBezTo>
                  <a:pt x="15783" y="20223"/>
                  <a:pt x="24108" y="13377"/>
                  <a:pt x="3123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7" name="Freeform: Shape 696">
            <a:extLst>
              <a:ext uri="{FF2B5EF4-FFF2-40B4-BE49-F238E27FC236}">
                <a16:creationId xmlns="" xmlns:a16="http://schemas.microsoft.com/office/drawing/2014/main" id="{3A0F2E6F-2BD7-46F4-B93F-7CF7875BEE3B}"/>
              </a:ext>
            </a:extLst>
          </p:cNvPr>
          <p:cNvSpPr/>
          <p:nvPr/>
        </p:nvSpPr>
        <p:spPr>
          <a:xfrm>
            <a:off x="783125" y="3880660"/>
            <a:ext cx="27753" cy="9251"/>
          </a:xfrm>
          <a:custGeom>
            <a:avLst/>
            <a:gdLst>
              <a:gd name="connsiteX0" fmla="*/ 23738 w 27752"/>
              <a:gd name="connsiteY0" fmla="*/ 8752 h 9250"/>
              <a:gd name="connsiteX1" fmla="*/ 6717 w 27752"/>
              <a:gd name="connsiteY1" fmla="*/ 6717 h 9250"/>
              <a:gd name="connsiteX2" fmla="*/ 23738 w 27752"/>
              <a:gd name="connsiteY2" fmla="*/ 8752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9250">
                <a:moveTo>
                  <a:pt x="23738" y="8752"/>
                </a:moveTo>
                <a:cubicBezTo>
                  <a:pt x="17910" y="9122"/>
                  <a:pt x="12175" y="8474"/>
                  <a:pt x="6717" y="6717"/>
                </a:cubicBezTo>
                <a:cubicBezTo>
                  <a:pt x="12175" y="8474"/>
                  <a:pt x="17910" y="9122"/>
                  <a:pt x="23738" y="8752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8" name="Freeform: Shape 697">
            <a:extLst>
              <a:ext uri="{FF2B5EF4-FFF2-40B4-BE49-F238E27FC236}">
                <a16:creationId xmlns="" xmlns:a16="http://schemas.microsoft.com/office/drawing/2014/main" id="{20AC8B86-E8A4-436F-A974-EF171FE36141}"/>
              </a:ext>
            </a:extLst>
          </p:cNvPr>
          <p:cNvSpPr/>
          <p:nvPr/>
        </p:nvSpPr>
        <p:spPr>
          <a:xfrm>
            <a:off x="729562" y="3850502"/>
            <a:ext cx="18502" cy="18502"/>
          </a:xfrm>
          <a:custGeom>
            <a:avLst/>
            <a:gdLst>
              <a:gd name="connsiteX0" fmla="*/ 11805 w 18501"/>
              <a:gd name="connsiteY0" fmla="*/ 16985 h 18501"/>
              <a:gd name="connsiteX1" fmla="*/ 6717 w 18501"/>
              <a:gd name="connsiteY1" fmla="*/ 6717 h 18501"/>
              <a:gd name="connsiteX2" fmla="*/ 11805 w 18501"/>
              <a:gd name="connsiteY2" fmla="*/ 1698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1805" y="16985"/>
                </a:moveTo>
                <a:cubicBezTo>
                  <a:pt x="9770" y="13562"/>
                  <a:pt x="8104" y="10140"/>
                  <a:pt x="6717" y="6717"/>
                </a:cubicBezTo>
                <a:cubicBezTo>
                  <a:pt x="8012" y="10047"/>
                  <a:pt x="9770" y="13470"/>
                  <a:pt x="11805" y="1698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99" name="Freeform: Shape 698">
            <a:extLst>
              <a:ext uri="{FF2B5EF4-FFF2-40B4-BE49-F238E27FC236}">
                <a16:creationId xmlns="" xmlns:a16="http://schemas.microsoft.com/office/drawing/2014/main" id="{90B4582A-8621-4864-9995-3E6B7BB71FB4}"/>
              </a:ext>
            </a:extLst>
          </p:cNvPr>
          <p:cNvSpPr/>
          <p:nvPr/>
        </p:nvSpPr>
        <p:spPr>
          <a:xfrm>
            <a:off x="867586" y="3931262"/>
            <a:ext cx="18502" cy="9251"/>
          </a:xfrm>
          <a:custGeom>
            <a:avLst/>
            <a:gdLst>
              <a:gd name="connsiteX0" fmla="*/ 11990 w 18501"/>
              <a:gd name="connsiteY0" fmla="*/ 6717 h 9250"/>
              <a:gd name="connsiteX1" fmla="*/ 6717 w 18501"/>
              <a:gd name="connsiteY1" fmla="*/ 11157 h 9250"/>
              <a:gd name="connsiteX2" fmla="*/ 11990 w 18501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11990" y="6717"/>
                </a:moveTo>
                <a:cubicBezTo>
                  <a:pt x="10232" y="8197"/>
                  <a:pt x="8474" y="9677"/>
                  <a:pt x="6717" y="11157"/>
                </a:cubicBezTo>
                <a:cubicBezTo>
                  <a:pt x="8474" y="9677"/>
                  <a:pt x="10232" y="8197"/>
                  <a:pt x="11990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0" name="Freeform: Shape 699">
            <a:extLst>
              <a:ext uri="{FF2B5EF4-FFF2-40B4-BE49-F238E27FC236}">
                <a16:creationId xmlns="" xmlns:a16="http://schemas.microsoft.com/office/drawing/2014/main" id="{0EA6359B-A0BE-4D7C-9B2E-BA58F10AB82C}"/>
              </a:ext>
            </a:extLst>
          </p:cNvPr>
          <p:cNvSpPr/>
          <p:nvPr/>
        </p:nvSpPr>
        <p:spPr>
          <a:xfrm>
            <a:off x="882665" y="3920624"/>
            <a:ext cx="9251" cy="9251"/>
          </a:xfrm>
          <a:custGeom>
            <a:avLst/>
            <a:gdLst>
              <a:gd name="connsiteX0" fmla="*/ 9955 w 9250"/>
              <a:gd name="connsiteY0" fmla="*/ 6717 h 9250"/>
              <a:gd name="connsiteX1" fmla="*/ 6717 w 9250"/>
              <a:gd name="connsiteY1" fmla="*/ 9307 h 9250"/>
              <a:gd name="connsiteX2" fmla="*/ 9955 w 9250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9955" y="6717"/>
                </a:moveTo>
                <a:cubicBezTo>
                  <a:pt x="8937" y="7549"/>
                  <a:pt x="7827" y="8474"/>
                  <a:pt x="6717" y="9307"/>
                </a:cubicBezTo>
                <a:cubicBezTo>
                  <a:pt x="7827" y="8474"/>
                  <a:pt x="8937" y="7549"/>
                  <a:pt x="9955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1" name="Freeform: Shape 700">
            <a:extLst>
              <a:ext uri="{FF2B5EF4-FFF2-40B4-BE49-F238E27FC236}">
                <a16:creationId xmlns="" xmlns:a16="http://schemas.microsoft.com/office/drawing/2014/main" id="{72AD3D04-1DD2-4E2A-903F-46813C8846CD}"/>
              </a:ext>
            </a:extLst>
          </p:cNvPr>
          <p:cNvSpPr/>
          <p:nvPr/>
        </p:nvSpPr>
        <p:spPr>
          <a:xfrm>
            <a:off x="853710" y="3943751"/>
            <a:ext cx="9251" cy="9251"/>
          </a:xfrm>
          <a:custGeom>
            <a:avLst/>
            <a:gdLst>
              <a:gd name="connsiteX0" fmla="*/ 11065 w 9250"/>
              <a:gd name="connsiteY0" fmla="*/ 6717 h 9250"/>
              <a:gd name="connsiteX1" fmla="*/ 6717 w 9250"/>
              <a:gd name="connsiteY1" fmla="*/ 10510 h 9250"/>
              <a:gd name="connsiteX2" fmla="*/ 11065 w 9250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9250">
                <a:moveTo>
                  <a:pt x="11065" y="6717"/>
                </a:moveTo>
                <a:cubicBezTo>
                  <a:pt x="9585" y="8012"/>
                  <a:pt x="8197" y="9214"/>
                  <a:pt x="6717" y="10510"/>
                </a:cubicBezTo>
                <a:cubicBezTo>
                  <a:pt x="8197" y="9214"/>
                  <a:pt x="9585" y="7919"/>
                  <a:pt x="11065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2" name="Freeform: Shape 701">
            <a:extLst>
              <a:ext uri="{FF2B5EF4-FFF2-40B4-BE49-F238E27FC236}">
                <a16:creationId xmlns="" xmlns:a16="http://schemas.microsoft.com/office/drawing/2014/main" id="{284464B3-D2D9-459C-9C4E-B79AF66E24C3}"/>
              </a:ext>
            </a:extLst>
          </p:cNvPr>
          <p:cNvSpPr/>
          <p:nvPr/>
        </p:nvSpPr>
        <p:spPr>
          <a:xfrm>
            <a:off x="832618" y="3957812"/>
            <a:ext cx="18502" cy="18502"/>
          </a:xfrm>
          <a:custGeom>
            <a:avLst/>
            <a:gdLst>
              <a:gd name="connsiteX0" fmla="*/ 16430 w 18501"/>
              <a:gd name="connsiteY0" fmla="*/ 6717 h 18501"/>
              <a:gd name="connsiteX1" fmla="*/ 6717 w 18501"/>
              <a:gd name="connsiteY1" fmla="*/ 15968 h 18501"/>
              <a:gd name="connsiteX2" fmla="*/ 16430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6430" y="6717"/>
                </a:moveTo>
                <a:cubicBezTo>
                  <a:pt x="13192" y="9677"/>
                  <a:pt x="9955" y="12730"/>
                  <a:pt x="6717" y="15968"/>
                </a:cubicBezTo>
                <a:cubicBezTo>
                  <a:pt x="9955" y="12730"/>
                  <a:pt x="13192" y="9677"/>
                  <a:pt x="16430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3" name="Freeform: Shape 702">
            <a:extLst>
              <a:ext uri="{FF2B5EF4-FFF2-40B4-BE49-F238E27FC236}">
                <a16:creationId xmlns="" xmlns:a16="http://schemas.microsoft.com/office/drawing/2014/main" id="{8B088E30-681A-4A00-B0A6-D24F7AD8E8F2}"/>
              </a:ext>
            </a:extLst>
          </p:cNvPr>
          <p:cNvSpPr/>
          <p:nvPr/>
        </p:nvSpPr>
        <p:spPr>
          <a:xfrm>
            <a:off x="1555945" y="2996459"/>
            <a:ext cx="18502" cy="18502"/>
          </a:xfrm>
          <a:custGeom>
            <a:avLst/>
            <a:gdLst>
              <a:gd name="connsiteX0" fmla="*/ 6717 w 18501"/>
              <a:gd name="connsiteY0" fmla="*/ 12637 h 18501"/>
              <a:gd name="connsiteX1" fmla="*/ 17633 w 18501"/>
              <a:gd name="connsiteY1" fmla="*/ 6717 h 18501"/>
              <a:gd name="connsiteX2" fmla="*/ 6717 w 18501"/>
              <a:gd name="connsiteY2" fmla="*/ 1263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2637"/>
                </a:moveTo>
                <a:cubicBezTo>
                  <a:pt x="10602" y="11065"/>
                  <a:pt x="14395" y="9122"/>
                  <a:pt x="17633" y="6717"/>
                </a:cubicBezTo>
                <a:cubicBezTo>
                  <a:pt x="14395" y="9122"/>
                  <a:pt x="10602" y="11065"/>
                  <a:pt x="6717" y="1263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4" name="Freeform: Shape 703">
            <a:extLst>
              <a:ext uri="{FF2B5EF4-FFF2-40B4-BE49-F238E27FC236}">
                <a16:creationId xmlns="" xmlns:a16="http://schemas.microsoft.com/office/drawing/2014/main" id="{0BA7DEA6-1229-4BB1-9DAD-F0DE7D597165}"/>
              </a:ext>
            </a:extLst>
          </p:cNvPr>
          <p:cNvSpPr/>
          <p:nvPr/>
        </p:nvSpPr>
        <p:spPr>
          <a:xfrm>
            <a:off x="1523012" y="3004785"/>
            <a:ext cx="37004" cy="9251"/>
          </a:xfrm>
          <a:custGeom>
            <a:avLst/>
            <a:gdLst>
              <a:gd name="connsiteX0" fmla="*/ 32527 w 37003"/>
              <a:gd name="connsiteY0" fmla="*/ 6717 h 9250"/>
              <a:gd name="connsiteX1" fmla="*/ 6717 w 37003"/>
              <a:gd name="connsiteY1" fmla="*/ 7734 h 9250"/>
              <a:gd name="connsiteX2" fmla="*/ 6717 w 37003"/>
              <a:gd name="connsiteY2" fmla="*/ 7734 h 9250"/>
              <a:gd name="connsiteX3" fmla="*/ 32527 w 37003"/>
              <a:gd name="connsiteY3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03" h="9250">
                <a:moveTo>
                  <a:pt x="32527" y="6717"/>
                </a:moveTo>
                <a:cubicBezTo>
                  <a:pt x="24571" y="8752"/>
                  <a:pt x="15783" y="9214"/>
                  <a:pt x="6717" y="7734"/>
                </a:cubicBezTo>
                <a:cubicBezTo>
                  <a:pt x="6717" y="7734"/>
                  <a:pt x="6717" y="7734"/>
                  <a:pt x="6717" y="7734"/>
                </a:cubicBezTo>
                <a:cubicBezTo>
                  <a:pt x="15783" y="9214"/>
                  <a:pt x="24478" y="8752"/>
                  <a:pt x="3252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5" name="Freeform: Shape 704">
            <a:extLst>
              <a:ext uri="{FF2B5EF4-FFF2-40B4-BE49-F238E27FC236}">
                <a16:creationId xmlns="" xmlns:a16="http://schemas.microsoft.com/office/drawing/2014/main" id="{F1743FD2-94B3-4064-B392-EB1C7AEC1FA8}"/>
              </a:ext>
            </a:extLst>
          </p:cNvPr>
          <p:cNvSpPr/>
          <p:nvPr/>
        </p:nvSpPr>
        <p:spPr>
          <a:xfrm>
            <a:off x="1453630" y="2955292"/>
            <a:ext cx="157265" cy="148014"/>
          </a:xfrm>
          <a:custGeom>
            <a:avLst/>
            <a:gdLst>
              <a:gd name="connsiteX0" fmla="*/ 6717 w 157265"/>
              <a:gd name="connsiteY0" fmla="*/ 118838 h 148014"/>
              <a:gd name="connsiteX1" fmla="*/ 137155 w 157265"/>
              <a:gd name="connsiteY1" fmla="*/ 144463 h 148014"/>
              <a:gd name="connsiteX2" fmla="*/ 158154 w 157265"/>
              <a:gd name="connsiteY2" fmla="*/ 6717 h 148014"/>
              <a:gd name="connsiteX3" fmla="*/ 137155 w 157265"/>
              <a:gd name="connsiteY3" fmla="*/ 144463 h 148014"/>
              <a:gd name="connsiteX4" fmla="*/ 6717 w 157265"/>
              <a:gd name="connsiteY4" fmla="*/ 118838 h 14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265" h="148014">
                <a:moveTo>
                  <a:pt x="6717" y="118838"/>
                </a:moveTo>
                <a:cubicBezTo>
                  <a:pt x="38447" y="127164"/>
                  <a:pt x="83314" y="129476"/>
                  <a:pt x="137155" y="144463"/>
                </a:cubicBezTo>
                <a:cubicBezTo>
                  <a:pt x="141780" y="84980"/>
                  <a:pt x="156396" y="40113"/>
                  <a:pt x="158154" y="6717"/>
                </a:cubicBezTo>
                <a:cubicBezTo>
                  <a:pt x="156396" y="40113"/>
                  <a:pt x="141780" y="84980"/>
                  <a:pt x="137155" y="144463"/>
                </a:cubicBezTo>
                <a:cubicBezTo>
                  <a:pt x="83314" y="129476"/>
                  <a:pt x="38447" y="127164"/>
                  <a:pt x="6717" y="11883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6" name="Freeform: Shape 705">
            <a:extLst>
              <a:ext uri="{FF2B5EF4-FFF2-40B4-BE49-F238E27FC236}">
                <a16:creationId xmlns="" xmlns:a16="http://schemas.microsoft.com/office/drawing/2014/main" id="{E3FACD40-D048-4AF1-A367-5C51B0A6B479}"/>
              </a:ext>
            </a:extLst>
          </p:cNvPr>
          <p:cNvSpPr/>
          <p:nvPr/>
        </p:nvSpPr>
        <p:spPr>
          <a:xfrm>
            <a:off x="1436239" y="3061585"/>
            <a:ext cx="27753" cy="18502"/>
          </a:xfrm>
          <a:custGeom>
            <a:avLst/>
            <a:gdLst>
              <a:gd name="connsiteX0" fmla="*/ 24108 w 27752"/>
              <a:gd name="connsiteY0" fmla="*/ 12545 h 18501"/>
              <a:gd name="connsiteX1" fmla="*/ 6717 w 27752"/>
              <a:gd name="connsiteY1" fmla="*/ 6717 h 18501"/>
              <a:gd name="connsiteX2" fmla="*/ 24108 w 27752"/>
              <a:gd name="connsiteY2" fmla="*/ 1254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18501">
                <a:moveTo>
                  <a:pt x="24108" y="12545"/>
                </a:moveTo>
                <a:cubicBezTo>
                  <a:pt x="17725" y="10879"/>
                  <a:pt x="11990" y="9029"/>
                  <a:pt x="6717" y="6717"/>
                </a:cubicBezTo>
                <a:cubicBezTo>
                  <a:pt x="11990" y="9029"/>
                  <a:pt x="17725" y="10879"/>
                  <a:pt x="24108" y="1254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7" name="Freeform: Shape 706">
            <a:extLst>
              <a:ext uri="{FF2B5EF4-FFF2-40B4-BE49-F238E27FC236}">
                <a16:creationId xmlns="" xmlns:a16="http://schemas.microsoft.com/office/drawing/2014/main" id="{19A02427-600A-48AC-A350-030BBB16BA04}"/>
              </a:ext>
            </a:extLst>
          </p:cNvPr>
          <p:cNvSpPr/>
          <p:nvPr/>
        </p:nvSpPr>
        <p:spPr>
          <a:xfrm>
            <a:off x="1418199" y="3050114"/>
            <a:ext cx="18502" cy="18502"/>
          </a:xfrm>
          <a:custGeom>
            <a:avLst/>
            <a:gdLst>
              <a:gd name="connsiteX0" fmla="*/ 14950 w 18501"/>
              <a:gd name="connsiteY0" fmla="*/ 13100 h 18501"/>
              <a:gd name="connsiteX1" fmla="*/ 6717 w 18501"/>
              <a:gd name="connsiteY1" fmla="*/ 6717 h 18501"/>
              <a:gd name="connsiteX2" fmla="*/ 14950 w 18501"/>
              <a:gd name="connsiteY2" fmla="*/ 13100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4950" y="13100"/>
                </a:moveTo>
                <a:cubicBezTo>
                  <a:pt x="11990" y="11157"/>
                  <a:pt x="9215" y="9029"/>
                  <a:pt x="6717" y="6717"/>
                </a:cubicBezTo>
                <a:cubicBezTo>
                  <a:pt x="9215" y="9029"/>
                  <a:pt x="11990" y="11157"/>
                  <a:pt x="14950" y="13100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8" name="Freeform: Shape 707">
            <a:extLst>
              <a:ext uri="{FF2B5EF4-FFF2-40B4-BE49-F238E27FC236}">
                <a16:creationId xmlns="" xmlns:a16="http://schemas.microsoft.com/office/drawing/2014/main" id="{FA12610F-6A64-4D25-A227-16108CD5201B}"/>
              </a:ext>
            </a:extLst>
          </p:cNvPr>
          <p:cNvSpPr/>
          <p:nvPr/>
        </p:nvSpPr>
        <p:spPr>
          <a:xfrm>
            <a:off x="1542439" y="1835379"/>
            <a:ext cx="18502" cy="18502"/>
          </a:xfrm>
          <a:custGeom>
            <a:avLst/>
            <a:gdLst>
              <a:gd name="connsiteX0" fmla="*/ 12545 w 18501"/>
              <a:gd name="connsiteY0" fmla="*/ 17078 h 18501"/>
              <a:gd name="connsiteX1" fmla="*/ 6717 w 18501"/>
              <a:gd name="connsiteY1" fmla="*/ 6717 h 18501"/>
              <a:gd name="connsiteX2" fmla="*/ 12545 w 18501"/>
              <a:gd name="connsiteY2" fmla="*/ 17078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2545" y="17078"/>
                </a:moveTo>
                <a:cubicBezTo>
                  <a:pt x="10510" y="13470"/>
                  <a:pt x="8567" y="10047"/>
                  <a:pt x="6717" y="6717"/>
                </a:cubicBezTo>
                <a:cubicBezTo>
                  <a:pt x="8567" y="10047"/>
                  <a:pt x="10510" y="13470"/>
                  <a:pt x="12545" y="17078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09" name="Freeform: Shape 708">
            <a:extLst>
              <a:ext uri="{FF2B5EF4-FFF2-40B4-BE49-F238E27FC236}">
                <a16:creationId xmlns="" xmlns:a16="http://schemas.microsoft.com/office/drawing/2014/main" id="{51501984-722E-41F2-9289-AB059ACED15D}"/>
              </a:ext>
            </a:extLst>
          </p:cNvPr>
          <p:cNvSpPr/>
          <p:nvPr/>
        </p:nvSpPr>
        <p:spPr>
          <a:xfrm>
            <a:off x="1460014" y="1998750"/>
            <a:ext cx="18502" cy="9251"/>
          </a:xfrm>
          <a:custGeom>
            <a:avLst/>
            <a:gdLst>
              <a:gd name="connsiteX0" fmla="*/ 17725 w 18501"/>
              <a:gd name="connsiteY0" fmla="*/ 6717 h 9250"/>
              <a:gd name="connsiteX1" fmla="*/ 6717 w 18501"/>
              <a:gd name="connsiteY1" fmla="*/ 9955 h 9250"/>
              <a:gd name="connsiteX2" fmla="*/ 17725 w 18501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17725" y="6717"/>
                </a:moveTo>
                <a:cubicBezTo>
                  <a:pt x="13932" y="8104"/>
                  <a:pt x="10325" y="9215"/>
                  <a:pt x="6717" y="9955"/>
                </a:cubicBezTo>
                <a:cubicBezTo>
                  <a:pt x="10325" y="9215"/>
                  <a:pt x="13932" y="8104"/>
                  <a:pt x="17725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0" name="Freeform: Shape 709">
            <a:extLst>
              <a:ext uri="{FF2B5EF4-FFF2-40B4-BE49-F238E27FC236}">
                <a16:creationId xmlns="" xmlns:a16="http://schemas.microsoft.com/office/drawing/2014/main" id="{BC550BF7-6D64-4E0A-9C2B-3FF402476732}"/>
              </a:ext>
            </a:extLst>
          </p:cNvPr>
          <p:cNvSpPr/>
          <p:nvPr/>
        </p:nvSpPr>
        <p:spPr>
          <a:xfrm>
            <a:off x="1536241" y="1825110"/>
            <a:ext cx="9251" cy="18502"/>
          </a:xfrm>
          <a:custGeom>
            <a:avLst/>
            <a:gdLst>
              <a:gd name="connsiteX0" fmla="*/ 6717 w 9250"/>
              <a:gd name="connsiteY0" fmla="*/ 6717 h 18501"/>
              <a:gd name="connsiteX1" fmla="*/ 10695 w 9250"/>
              <a:gd name="connsiteY1" fmla="*/ 13192 h 18501"/>
              <a:gd name="connsiteX2" fmla="*/ 6717 w 9250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6717" y="6717"/>
                </a:moveTo>
                <a:cubicBezTo>
                  <a:pt x="8012" y="8845"/>
                  <a:pt x="9307" y="10972"/>
                  <a:pt x="10695" y="13192"/>
                </a:cubicBezTo>
                <a:cubicBezTo>
                  <a:pt x="9400" y="10972"/>
                  <a:pt x="8012" y="884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1" name="Freeform: Shape 710">
            <a:extLst>
              <a:ext uri="{FF2B5EF4-FFF2-40B4-BE49-F238E27FC236}">
                <a16:creationId xmlns="" xmlns:a16="http://schemas.microsoft.com/office/drawing/2014/main" id="{1AD7AA4D-126E-480D-AA26-2C777DEDB285}"/>
              </a:ext>
            </a:extLst>
          </p:cNvPr>
          <p:cNvSpPr/>
          <p:nvPr/>
        </p:nvSpPr>
        <p:spPr>
          <a:xfrm>
            <a:off x="1496092" y="1882651"/>
            <a:ext cx="27753" cy="27753"/>
          </a:xfrm>
          <a:custGeom>
            <a:avLst/>
            <a:gdLst>
              <a:gd name="connsiteX0" fmla="*/ 27346 w 27752"/>
              <a:gd name="connsiteY0" fmla="*/ 6717 h 27752"/>
              <a:gd name="connsiteX1" fmla="*/ 6717 w 27752"/>
              <a:gd name="connsiteY1" fmla="*/ 26144 h 27752"/>
              <a:gd name="connsiteX2" fmla="*/ 6717 w 27752"/>
              <a:gd name="connsiteY2" fmla="*/ 26144 h 27752"/>
              <a:gd name="connsiteX3" fmla="*/ 27346 w 27752"/>
              <a:gd name="connsiteY3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52" h="27752">
                <a:moveTo>
                  <a:pt x="27346" y="6717"/>
                </a:moveTo>
                <a:cubicBezTo>
                  <a:pt x="22443" y="14210"/>
                  <a:pt x="15413" y="20963"/>
                  <a:pt x="6717" y="26144"/>
                </a:cubicBezTo>
                <a:cubicBezTo>
                  <a:pt x="6717" y="26144"/>
                  <a:pt x="6717" y="26144"/>
                  <a:pt x="6717" y="26144"/>
                </a:cubicBezTo>
                <a:cubicBezTo>
                  <a:pt x="15413" y="20963"/>
                  <a:pt x="22351" y="14303"/>
                  <a:pt x="27346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2" name="Freeform: Shape 711">
            <a:extLst>
              <a:ext uri="{FF2B5EF4-FFF2-40B4-BE49-F238E27FC236}">
                <a16:creationId xmlns="" xmlns:a16="http://schemas.microsoft.com/office/drawing/2014/main" id="{3045FC4C-D04D-4609-B684-07ADEE8CCF62}"/>
              </a:ext>
            </a:extLst>
          </p:cNvPr>
          <p:cNvSpPr/>
          <p:nvPr/>
        </p:nvSpPr>
        <p:spPr>
          <a:xfrm>
            <a:off x="1510616" y="1794027"/>
            <a:ext cx="18502" cy="18502"/>
          </a:xfrm>
          <a:custGeom>
            <a:avLst/>
            <a:gdLst>
              <a:gd name="connsiteX0" fmla="*/ 6717 w 18501"/>
              <a:gd name="connsiteY0" fmla="*/ 6717 h 18501"/>
              <a:gd name="connsiteX1" fmla="*/ 12822 w 18501"/>
              <a:gd name="connsiteY1" fmla="*/ 12175 h 18501"/>
              <a:gd name="connsiteX2" fmla="*/ 6717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6717"/>
                </a:moveTo>
                <a:cubicBezTo>
                  <a:pt x="8844" y="8382"/>
                  <a:pt x="10880" y="10232"/>
                  <a:pt x="12822" y="12175"/>
                </a:cubicBezTo>
                <a:cubicBezTo>
                  <a:pt x="10880" y="10232"/>
                  <a:pt x="8844" y="8290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3" name="Freeform: Shape 712">
            <a:extLst>
              <a:ext uri="{FF2B5EF4-FFF2-40B4-BE49-F238E27FC236}">
                <a16:creationId xmlns="" xmlns:a16="http://schemas.microsoft.com/office/drawing/2014/main" id="{F264FA25-31D2-4454-BD55-171E8FDF446D}"/>
              </a:ext>
            </a:extLst>
          </p:cNvPr>
          <p:cNvSpPr/>
          <p:nvPr/>
        </p:nvSpPr>
        <p:spPr>
          <a:xfrm>
            <a:off x="1476758" y="1929645"/>
            <a:ext cx="129513" cy="74007"/>
          </a:xfrm>
          <a:custGeom>
            <a:avLst/>
            <a:gdLst>
              <a:gd name="connsiteX0" fmla="*/ 128921 w 129512"/>
              <a:gd name="connsiteY0" fmla="*/ 6717 h 74007"/>
              <a:gd name="connsiteX1" fmla="*/ 128921 w 129512"/>
              <a:gd name="connsiteY1" fmla="*/ 6717 h 74007"/>
              <a:gd name="connsiteX2" fmla="*/ 6717 w 129512"/>
              <a:gd name="connsiteY2" fmla="*/ 73601 h 74007"/>
              <a:gd name="connsiteX3" fmla="*/ 128921 w 129512"/>
              <a:gd name="connsiteY3" fmla="*/ 6717 h 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9512" h="74007">
                <a:moveTo>
                  <a:pt x="128921" y="6717"/>
                </a:moveTo>
                <a:cubicBezTo>
                  <a:pt x="128921" y="6717"/>
                  <a:pt x="128829" y="6717"/>
                  <a:pt x="128921" y="6717"/>
                </a:cubicBezTo>
                <a:cubicBezTo>
                  <a:pt x="74618" y="31417"/>
                  <a:pt x="37430" y="60557"/>
                  <a:pt x="6717" y="73601"/>
                </a:cubicBezTo>
                <a:cubicBezTo>
                  <a:pt x="37430" y="60557"/>
                  <a:pt x="74618" y="31417"/>
                  <a:pt x="128921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4" name="Freeform: Shape 713">
            <a:extLst>
              <a:ext uri="{FF2B5EF4-FFF2-40B4-BE49-F238E27FC236}">
                <a16:creationId xmlns="" xmlns:a16="http://schemas.microsoft.com/office/drawing/2014/main" id="{7249C0DD-1E7F-405B-843A-847B3371206B}"/>
              </a:ext>
            </a:extLst>
          </p:cNvPr>
          <p:cNvSpPr/>
          <p:nvPr/>
        </p:nvSpPr>
        <p:spPr>
          <a:xfrm>
            <a:off x="795336" y="1169036"/>
            <a:ext cx="18502" cy="18502"/>
          </a:xfrm>
          <a:custGeom>
            <a:avLst/>
            <a:gdLst>
              <a:gd name="connsiteX0" fmla="*/ 6717 w 18501"/>
              <a:gd name="connsiteY0" fmla="*/ 19205 h 18501"/>
              <a:gd name="connsiteX1" fmla="*/ 17170 w 18501"/>
              <a:gd name="connsiteY1" fmla="*/ 6717 h 18501"/>
              <a:gd name="connsiteX2" fmla="*/ 6717 w 18501"/>
              <a:gd name="connsiteY2" fmla="*/ 19205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6717" y="19205"/>
                </a:moveTo>
                <a:cubicBezTo>
                  <a:pt x="10602" y="15690"/>
                  <a:pt x="14025" y="11527"/>
                  <a:pt x="17170" y="6717"/>
                </a:cubicBezTo>
                <a:cubicBezTo>
                  <a:pt x="14025" y="11527"/>
                  <a:pt x="10602" y="15690"/>
                  <a:pt x="6717" y="19205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5" name="Freeform: Shape 714">
            <a:extLst>
              <a:ext uri="{FF2B5EF4-FFF2-40B4-BE49-F238E27FC236}">
                <a16:creationId xmlns="" xmlns:a16="http://schemas.microsoft.com/office/drawing/2014/main" id="{10003A7C-D4D7-4045-839C-C58990C21017}"/>
              </a:ext>
            </a:extLst>
          </p:cNvPr>
          <p:cNvSpPr/>
          <p:nvPr/>
        </p:nvSpPr>
        <p:spPr>
          <a:xfrm>
            <a:off x="759720" y="993454"/>
            <a:ext cx="27753" cy="18502"/>
          </a:xfrm>
          <a:custGeom>
            <a:avLst/>
            <a:gdLst>
              <a:gd name="connsiteX0" fmla="*/ 6717 w 27752"/>
              <a:gd name="connsiteY0" fmla="*/ 6717 h 18501"/>
              <a:gd name="connsiteX1" fmla="*/ 23091 w 27752"/>
              <a:gd name="connsiteY1" fmla="*/ 12915 h 18501"/>
              <a:gd name="connsiteX2" fmla="*/ 6717 w 27752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52" h="18501">
                <a:moveTo>
                  <a:pt x="6717" y="6717"/>
                </a:moveTo>
                <a:cubicBezTo>
                  <a:pt x="11990" y="8659"/>
                  <a:pt x="17448" y="10695"/>
                  <a:pt x="23091" y="12915"/>
                </a:cubicBezTo>
                <a:cubicBezTo>
                  <a:pt x="17448" y="10695"/>
                  <a:pt x="11990" y="8567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6" name="Freeform: Shape 715">
            <a:extLst>
              <a:ext uri="{FF2B5EF4-FFF2-40B4-BE49-F238E27FC236}">
                <a16:creationId xmlns="" xmlns:a16="http://schemas.microsoft.com/office/drawing/2014/main" id="{21488F1A-FC2F-43E4-84ED-301E0B5992F5}"/>
              </a:ext>
            </a:extLst>
          </p:cNvPr>
          <p:cNvSpPr/>
          <p:nvPr/>
        </p:nvSpPr>
        <p:spPr>
          <a:xfrm>
            <a:off x="805882" y="1028885"/>
            <a:ext cx="64756" cy="148014"/>
          </a:xfrm>
          <a:custGeom>
            <a:avLst/>
            <a:gdLst>
              <a:gd name="connsiteX0" fmla="*/ 63332 w 64756"/>
              <a:gd name="connsiteY0" fmla="*/ 6717 h 148014"/>
              <a:gd name="connsiteX1" fmla="*/ 63332 w 64756"/>
              <a:gd name="connsiteY1" fmla="*/ 6717 h 148014"/>
              <a:gd name="connsiteX2" fmla="*/ 6717 w 64756"/>
              <a:gd name="connsiteY2" fmla="*/ 146868 h 148014"/>
              <a:gd name="connsiteX3" fmla="*/ 63332 w 64756"/>
              <a:gd name="connsiteY3" fmla="*/ 6717 h 14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56" h="148014">
                <a:moveTo>
                  <a:pt x="63332" y="6717"/>
                </a:moveTo>
                <a:cubicBezTo>
                  <a:pt x="63332" y="6717"/>
                  <a:pt x="63332" y="6717"/>
                  <a:pt x="63332" y="6717"/>
                </a:cubicBezTo>
                <a:cubicBezTo>
                  <a:pt x="34377" y="67310"/>
                  <a:pt x="25681" y="118190"/>
                  <a:pt x="6717" y="146868"/>
                </a:cubicBezTo>
                <a:cubicBezTo>
                  <a:pt x="25589" y="118190"/>
                  <a:pt x="34377" y="67310"/>
                  <a:pt x="6333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7" name="Freeform: Shape 716">
            <a:extLst>
              <a:ext uri="{FF2B5EF4-FFF2-40B4-BE49-F238E27FC236}">
                <a16:creationId xmlns="" xmlns:a16="http://schemas.microsoft.com/office/drawing/2014/main" id="{CF5CFD5C-E48B-4C1A-99AD-16E69CBCC87A}"/>
              </a:ext>
            </a:extLst>
          </p:cNvPr>
          <p:cNvSpPr/>
          <p:nvPr/>
        </p:nvSpPr>
        <p:spPr>
          <a:xfrm>
            <a:off x="768139" y="1040079"/>
            <a:ext cx="9251" cy="18502"/>
          </a:xfrm>
          <a:custGeom>
            <a:avLst/>
            <a:gdLst>
              <a:gd name="connsiteX0" fmla="*/ 8197 w 9250"/>
              <a:gd name="connsiteY0" fmla="*/ 19946 h 18501"/>
              <a:gd name="connsiteX1" fmla="*/ 6717 w 9250"/>
              <a:gd name="connsiteY1" fmla="*/ 6717 h 18501"/>
              <a:gd name="connsiteX2" fmla="*/ 8197 w 9250"/>
              <a:gd name="connsiteY2" fmla="*/ 19946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50" h="18501">
                <a:moveTo>
                  <a:pt x="8197" y="19946"/>
                </a:moveTo>
                <a:cubicBezTo>
                  <a:pt x="8289" y="15413"/>
                  <a:pt x="7734" y="10972"/>
                  <a:pt x="6717" y="6717"/>
                </a:cubicBezTo>
                <a:cubicBezTo>
                  <a:pt x="7734" y="10972"/>
                  <a:pt x="8197" y="15320"/>
                  <a:pt x="8197" y="19946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8" name="Freeform: Shape 717">
            <a:extLst>
              <a:ext uri="{FF2B5EF4-FFF2-40B4-BE49-F238E27FC236}">
                <a16:creationId xmlns="" xmlns:a16="http://schemas.microsoft.com/office/drawing/2014/main" id="{F3159D6B-3B2E-4647-9FBA-052B94561EA9}"/>
              </a:ext>
            </a:extLst>
          </p:cNvPr>
          <p:cNvSpPr/>
          <p:nvPr/>
        </p:nvSpPr>
        <p:spPr>
          <a:xfrm>
            <a:off x="787011" y="1181525"/>
            <a:ext cx="18502" cy="18502"/>
          </a:xfrm>
          <a:custGeom>
            <a:avLst/>
            <a:gdLst>
              <a:gd name="connsiteX0" fmla="*/ 15042 w 18501"/>
              <a:gd name="connsiteY0" fmla="*/ 6717 h 18501"/>
              <a:gd name="connsiteX1" fmla="*/ 6717 w 18501"/>
              <a:gd name="connsiteY1" fmla="*/ 12822 h 18501"/>
              <a:gd name="connsiteX2" fmla="*/ 15042 w 18501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18501">
                <a:moveTo>
                  <a:pt x="15042" y="6717"/>
                </a:moveTo>
                <a:cubicBezTo>
                  <a:pt x="12452" y="9029"/>
                  <a:pt x="9677" y="11065"/>
                  <a:pt x="6717" y="12822"/>
                </a:cubicBezTo>
                <a:cubicBezTo>
                  <a:pt x="9677" y="11065"/>
                  <a:pt x="12452" y="9029"/>
                  <a:pt x="15042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9" name="Freeform: Shape 718">
            <a:extLst>
              <a:ext uri="{FF2B5EF4-FFF2-40B4-BE49-F238E27FC236}">
                <a16:creationId xmlns="" xmlns:a16="http://schemas.microsoft.com/office/drawing/2014/main" id="{2F16B9C2-6A84-4C88-841C-2183B0EDC00F}"/>
              </a:ext>
            </a:extLst>
          </p:cNvPr>
          <p:cNvSpPr/>
          <p:nvPr/>
        </p:nvSpPr>
        <p:spPr>
          <a:xfrm>
            <a:off x="780812" y="1001410"/>
            <a:ext cx="18502" cy="9251"/>
          </a:xfrm>
          <a:custGeom>
            <a:avLst/>
            <a:gdLst>
              <a:gd name="connsiteX0" fmla="*/ 6717 w 18501"/>
              <a:gd name="connsiteY0" fmla="*/ 6717 h 9250"/>
              <a:gd name="connsiteX1" fmla="*/ 19206 w 18501"/>
              <a:gd name="connsiteY1" fmla="*/ 11527 h 9250"/>
              <a:gd name="connsiteX2" fmla="*/ 6717 w 18501"/>
              <a:gd name="connsiteY2" fmla="*/ 6717 h 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01" h="9250">
                <a:moveTo>
                  <a:pt x="6717" y="6717"/>
                </a:moveTo>
                <a:cubicBezTo>
                  <a:pt x="10787" y="8289"/>
                  <a:pt x="14950" y="9862"/>
                  <a:pt x="19206" y="11527"/>
                </a:cubicBezTo>
                <a:cubicBezTo>
                  <a:pt x="14950" y="9862"/>
                  <a:pt x="10787" y="8289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0" name="Freeform: Shape 719">
            <a:extLst>
              <a:ext uri="{FF2B5EF4-FFF2-40B4-BE49-F238E27FC236}">
                <a16:creationId xmlns="" xmlns:a16="http://schemas.microsoft.com/office/drawing/2014/main" id="{5D476BDD-2F0B-4E66-980C-9E5E8117FDA6}"/>
              </a:ext>
            </a:extLst>
          </p:cNvPr>
          <p:cNvSpPr/>
          <p:nvPr/>
        </p:nvSpPr>
        <p:spPr>
          <a:xfrm>
            <a:off x="765918" y="1054880"/>
            <a:ext cx="9251" cy="27753"/>
          </a:xfrm>
          <a:custGeom>
            <a:avLst/>
            <a:gdLst>
              <a:gd name="connsiteX0" fmla="*/ 10417 w 9250"/>
              <a:gd name="connsiteY0" fmla="*/ 6717 h 27752"/>
              <a:gd name="connsiteX1" fmla="*/ 6717 w 9250"/>
              <a:gd name="connsiteY1" fmla="*/ 25681 h 27752"/>
              <a:gd name="connsiteX2" fmla="*/ 6717 w 9250"/>
              <a:gd name="connsiteY2" fmla="*/ 25681 h 27752"/>
              <a:gd name="connsiteX3" fmla="*/ 10417 w 9250"/>
              <a:gd name="connsiteY3" fmla="*/ 6717 h 2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0" h="27752">
                <a:moveTo>
                  <a:pt x="10417" y="6717"/>
                </a:moveTo>
                <a:cubicBezTo>
                  <a:pt x="10140" y="12915"/>
                  <a:pt x="8937" y="19298"/>
                  <a:pt x="6717" y="25681"/>
                </a:cubicBezTo>
                <a:cubicBezTo>
                  <a:pt x="6717" y="25681"/>
                  <a:pt x="6717" y="25681"/>
                  <a:pt x="6717" y="25681"/>
                </a:cubicBezTo>
                <a:cubicBezTo>
                  <a:pt x="8937" y="19391"/>
                  <a:pt x="10232" y="12915"/>
                  <a:pt x="104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1" name="Freeform: Shape 720">
            <a:extLst>
              <a:ext uri="{FF2B5EF4-FFF2-40B4-BE49-F238E27FC236}">
                <a16:creationId xmlns="" xmlns:a16="http://schemas.microsoft.com/office/drawing/2014/main" id="{115A5016-BC19-4D6D-A870-091B651FBF5C}"/>
              </a:ext>
            </a:extLst>
          </p:cNvPr>
          <p:cNvSpPr/>
          <p:nvPr/>
        </p:nvSpPr>
        <p:spPr>
          <a:xfrm>
            <a:off x="801072" y="1009088"/>
            <a:ext cx="37004" cy="18502"/>
          </a:xfrm>
          <a:custGeom>
            <a:avLst/>
            <a:gdLst>
              <a:gd name="connsiteX0" fmla="*/ 6717 w 37003"/>
              <a:gd name="connsiteY0" fmla="*/ 6717 h 18501"/>
              <a:gd name="connsiteX1" fmla="*/ 37337 w 37003"/>
              <a:gd name="connsiteY1" fmla="*/ 17448 h 18501"/>
              <a:gd name="connsiteX2" fmla="*/ 6717 w 37003"/>
              <a:gd name="connsiteY2" fmla="*/ 6717 h 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003" h="18501">
                <a:moveTo>
                  <a:pt x="6717" y="6717"/>
                </a:moveTo>
                <a:cubicBezTo>
                  <a:pt x="16338" y="10325"/>
                  <a:pt x="26514" y="13932"/>
                  <a:pt x="37337" y="17448"/>
                </a:cubicBezTo>
                <a:cubicBezTo>
                  <a:pt x="26421" y="14025"/>
                  <a:pt x="16245" y="10325"/>
                  <a:pt x="6717" y="6717"/>
                </a:cubicBezTo>
                <a:close/>
              </a:path>
            </a:pathLst>
          </a:custGeom>
          <a:solidFill>
            <a:srgbClr val="00225E"/>
          </a:solidFill>
          <a:ln w="922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2" name="Freeform: Shape 721">
            <a:extLst>
              <a:ext uri="{FF2B5EF4-FFF2-40B4-BE49-F238E27FC236}">
                <a16:creationId xmlns="" xmlns:a16="http://schemas.microsoft.com/office/drawing/2014/main" id="{DCE5AB18-D10A-4229-BD13-214F78881AC6}"/>
              </a:ext>
            </a:extLst>
          </p:cNvPr>
          <p:cNvSpPr/>
          <p:nvPr/>
        </p:nvSpPr>
        <p:spPr>
          <a:xfrm>
            <a:off x="652040" y="4456806"/>
            <a:ext cx="175767" cy="240523"/>
          </a:xfrm>
          <a:custGeom>
            <a:avLst/>
            <a:gdLst>
              <a:gd name="connsiteX0" fmla="*/ 137339 w 175767"/>
              <a:gd name="connsiteY0" fmla="*/ 6717 h 240523"/>
              <a:gd name="connsiteX1" fmla="*/ 101724 w 175767"/>
              <a:gd name="connsiteY1" fmla="*/ 69901 h 240523"/>
              <a:gd name="connsiteX2" fmla="*/ 93768 w 175767"/>
              <a:gd name="connsiteY2" fmla="*/ 90252 h 240523"/>
              <a:gd name="connsiteX3" fmla="*/ 6717 w 175767"/>
              <a:gd name="connsiteY3" fmla="*/ 54267 h 240523"/>
              <a:gd name="connsiteX4" fmla="*/ 105794 w 175767"/>
              <a:gd name="connsiteY4" fmla="*/ 214122 h 240523"/>
              <a:gd name="connsiteX5" fmla="*/ 127164 w 175767"/>
              <a:gd name="connsiteY5" fmla="*/ 229479 h 240523"/>
              <a:gd name="connsiteX6" fmla="*/ 149088 w 175767"/>
              <a:gd name="connsiteY6" fmla="*/ 242245 h 240523"/>
              <a:gd name="connsiteX7" fmla="*/ 164167 w 175767"/>
              <a:gd name="connsiteY7" fmla="*/ 192845 h 240523"/>
              <a:gd name="connsiteX8" fmla="*/ 137339 w 175767"/>
              <a:gd name="connsiteY8" fmla="*/ 6717 h 24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67" h="240523">
                <a:moveTo>
                  <a:pt x="137339" y="6717"/>
                </a:moveTo>
                <a:cubicBezTo>
                  <a:pt x="122353" y="28179"/>
                  <a:pt x="110604" y="49271"/>
                  <a:pt x="101724" y="69901"/>
                </a:cubicBezTo>
                <a:cubicBezTo>
                  <a:pt x="98763" y="76746"/>
                  <a:pt x="96173" y="83592"/>
                  <a:pt x="93768" y="90252"/>
                </a:cubicBezTo>
                <a:cubicBezTo>
                  <a:pt x="69253" y="75636"/>
                  <a:pt x="40575" y="63332"/>
                  <a:pt x="6717" y="54267"/>
                </a:cubicBezTo>
                <a:cubicBezTo>
                  <a:pt x="27069" y="130031"/>
                  <a:pt x="63887" y="180634"/>
                  <a:pt x="105794" y="214122"/>
                </a:cubicBezTo>
                <a:cubicBezTo>
                  <a:pt x="112825" y="219673"/>
                  <a:pt x="119948" y="224853"/>
                  <a:pt x="127164" y="229479"/>
                </a:cubicBezTo>
                <a:cubicBezTo>
                  <a:pt x="134379" y="234196"/>
                  <a:pt x="141687" y="238359"/>
                  <a:pt x="149088" y="242245"/>
                </a:cubicBezTo>
                <a:cubicBezTo>
                  <a:pt x="155379" y="226888"/>
                  <a:pt x="160652" y="210422"/>
                  <a:pt x="164167" y="192845"/>
                </a:cubicBezTo>
                <a:cubicBezTo>
                  <a:pt x="174806" y="140207"/>
                  <a:pt x="170458" y="77856"/>
                  <a:pt x="137339" y="6717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23" name="Freeform: Shape 722">
            <a:extLst>
              <a:ext uri="{FF2B5EF4-FFF2-40B4-BE49-F238E27FC236}">
                <a16:creationId xmlns="" xmlns:a16="http://schemas.microsoft.com/office/drawing/2014/main" id="{8E5EF405-E182-4CB9-BC43-39403B35A9FB}"/>
              </a:ext>
            </a:extLst>
          </p:cNvPr>
          <p:cNvSpPr/>
          <p:nvPr/>
        </p:nvSpPr>
        <p:spPr>
          <a:xfrm>
            <a:off x="-6717" y="148292"/>
            <a:ext cx="83258" cy="231272"/>
          </a:xfrm>
          <a:custGeom>
            <a:avLst/>
            <a:gdLst>
              <a:gd name="connsiteX0" fmla="*/ 17633 w 83258"/>
              <a:gd name="connsiteY0" fmla="*/ 181004 h 231272"/>
              <a:gd name="connsiteX1" fmla="*/ 25126 w 83258"/>
              <a:gd name="connsiteY1" fmla="*/ 188867 h 231272"/>
              <a:gd name="connsiteX2" fmla="*/ 76284 w 83258"/>
              <a:gd name="connsiteY2" fmla="*/ 232069 h 231272"/>
              <a:gd name="connsiteX3" fmla="*/ 37892 w 83258"/>
              <a:gd name="connsiteY3" fmla="*/ 47976 h 231272"/>
              <a:gd name="connsiteX4" fmla="*/ 23091 w 83258"/>
              <a:gd name="connsiteY4" fmla="*/ 26236 h 231272"/>
              <a:gd name="connsiteX5" fmla="*/ 6717 w 83258"/>
              <a:gd name="connsiteY5" fmla="*/ 6717 h 231272"/>
              <a:gd name="connsiteX6" fmla="*/ 6717 w 83258"/>
              <a:gd name="connsiteY6" fmla="*/ 168515 h 231272"/>
              <a:gd name="connsiteX7" fmla="*/ 17633 w 83258"/>
              <a:gd name="connsiteY7" fmla="*/ 181004 h 2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258" h="231272">
                <a:moveTo>
                  <a:pt x="17633" y="181004"/>
                </a:moveTo>
                <a:cubicBezTo>
                  <a:pt x="20038" y="183686"/>
                  <a:pt x="22536" y="186277"/>
                  <a:pt x="25126" y="188867"/>
                </a:cubicBezTo>
                <a:cubicBezTo>
                  <a:pt x="39650" y="203761"/>
                  <a:pt x="56487" y="218192"/>
                  <a:pt x="76284" y="232069"/>
                </a:cubicBezTo>
                <a:cubicBezTo>
                  <a:pt x="83037" y="153899"/>
                  <a:pt x="65830" y="93768"/>
                  <a:pt x="37892" y="47976"/>
                </a:cubicBezTo>
                <a:cubicBezTo>
                  <a:pt x="33267" y="40298"/>
                  <a:pt x="28271" y="33082"/>
                  <a:pt x="23091" y="26236"/>
                </a:cubicBezTo>
                <a:cubicBezTo>
                  <a:pt x="17725" y="19298"/>
                  <a:pt x="12360" y="12822"/>
                  <a:pt x="6717" y="6717"/>
                </a:cubicBezTo>
                <a:lnTo>
                  <a:pt x="6717" y="168515"/>
                </a:lnTo>
                <a:cubicBezTo>
                  <a:pt x="10140" y="172678"/>
                  <a:pt x="13840" y="176841"/>
                  <a:pt x="17633" y="181004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24" name="Freeform: Shape 723">
            <a:extLst>
              <a:ext uri="{FF2B5EF4-FFF2-40B4-BE49-F238E27FC236}">
                <a16:creationId xmlns="" xmlns:a16="http://schemas.microsoft.com/office/drawing/2014/main" id="{7BD7B4B5-ADB2-4EA1-B382-868D46FCE13D}"/>
              </a:ext>
            </a:extLst>
          </p:cNvPr>
          <p:cNvSpPr/>
          <p:nvPr/>
        </p:nvSpPr>
        <p:spPr>
          <a:xfrm>
            <a:off x="1300991" y="696408"/>
            <a:ext cx="203520" cy="222022"/>
          </a:xfrm>
          <a:custGeom>
            <a:avLst/>
            <a:gdLst>
              <a:gd name="connsiteX0" fmla="*/ 204871 w 203519"/>
              <a:gd name="connsiteY0" fmla="*/ 6717 h 222021"/>
              <a:gd name="connsiteX1" fmla="*/ 179894 w 203519"/>
              <a:gd name="connsiteY1" fmla="*/ 11250 h 222021"/>
              <a:gd name="connsiteX2" fmla="*/ 154546 w 203519"/>
              <a:gd name="connsiteY2" fmla="*/ 18373 h 222021"/>
              <a:gd name="connsiteX3" fmla="*/ 6717 w 203519"/>
              <a:gd name="connsiteY3" fmla="*/ 134749 h 222021"/>
              <a:gd name="connsiteX4" fmla="*/ 100798 w 203519"/>
              <a:gd name="connsiteY4" fmla="*/ 130679 h 222021"/>
              <a:gd name="connsiteX5" fmla="*/ 101261 w 203519"/>
              <a:gd name="connsiteY5" fmla="*/ 152511 h 222021"/>
              <a:gd name="connsiteX6" fmla="*/ 113102 w 203519"/>
              <a:gd name="connsiteY6" fmla="*/ 224020 h 222021"/>
              <a:gd name="connsiteX7" fmla="*/ 203668 w 203519"/>
              <a:gd name="connsiteY7" fmla="*/ 45108 h 222021"/>
              <a:gd name="connsiteX8" fmla="*/ 204871 w 203519"/>
              <a:gd name="connsiteY8" fmla="*/ 6717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519" h="222021">
                <a:moveTo>
                  <a:pt x="204871" y="6717"/>
                </a:moveTo>
                <a:cubicBezTo>
                  <a:pt x="196638" y="7827"/>
                  <a:pt x="188312" y="9307"/>
                  <a:pt x="179894" y="11250"/>
                </a:cubicBezTo>
                <a:cubicBezTo>
                  <a:pt x="171475" y="13192"/>
                  <a:pt x="163057" y="15505"/>
                  <a:pt x="154546" y="18373"/>
                </a:cubicBezTo>
                <a:cubicBezTo>
                  <a:pt x="103666" y="35580"/>
                  <a:pt x="51861" y="70455"/>
                  <a:pt x="6717" y="134749"/>
                </a:cubicBezTo>
                <a:cubicBezTo>
                  <a:pt x="41593" y="137802"/>
                  <a:pt x="72861" y="136044"/>
                  <a:pt x="100798" y="130679"/>
                </a:cubicBezTo>
                <a:cubicBezTo>
                  <a:pt x="100706" y="137802"/>
                  <a:pt x="100891" y="145110"/>
                  <a:pt x="101261" y="152511"/>
                </a:cubicBezTo>
                <a:cubicBezTo>
                  <a:pt x="102556" y="174898"/>
                  <a:pt x="106349" y="198673"/>
                  <a:pt x="113102" y="224020"/>
                </a:cubicBezTo>
                <a:cubicBezTo>
                  <a:pt x="173141" y="163797"/>
                  <a:pt x="198025" y="101816"/>
                  <a:pt x="203668" y="45108"/>
                </a:cubicBezTo>
                <a:cubicBezTo>
                  <a:pt x="205056" y="31972"/>
                  <a:pt x="205334" y="19113"/>
                  <a:pt x="204871" y="6717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25" name="Freeform: Shape 724">
            <a:extLst>
              <a:ext uri="{FF2B5EF4-FFF2-40B4-BE49-F238E27FC236}">
                <a16:creationId xmlns="" xmlns:a16="http://schemas.microsoft.com/office/drawing/2014/main" id="{BDFAD973-2B21-44C2-889D-0D3D0A55F623}"/>
              </a:ext>
            </a:extLst>
          </p:cNvPr>
          <p:cNvSpPr/>
          <p:nvPr/>
        </p:nvSpPr>
        <p:spPr>
          <a:xfrm>
            <a:off x="2066318" y="2042536"/>
            <a:ext cx="240523" cy="157265"/>
          </a:xfrm>
          <a:custGeom>
            <a:avLst/>
            <a:gdLst>
              <a:gd name="connsiteX0" fmla="*/ 30862 w 240523"/>
              <a:gd name="connsiteY0" fmla="*/ 155904 h 157265"/>
              <a:gd name="connsiteX1" fmla="*/ 205519 w 240523"/>
              <a:gd name="connsiteY1" fmla="*/ 86060 h 157265"/>
              <a:gd name="connsiteX2" fmla="*/ 240765 w 240523"/>
              <a:gd name="connsiteY2" fmla="*/ 48316 h 157265"/>
              <a:gd name="connsiteX3" fmla="*/ 6717 w 240523"/>
              <a:gd name="connsiteY3" fmla="*/ 19084 h 157265"/>
              <a:gd name="connsiteX4" fmla="*/ 81464 w 240523"/>
              <a:gd name="connsiteY4" fmla="*/ 76439 h 157265"/>
              <a:gd name="connsiteX5" fmla="*/ 30862 w 240523"/>
              <a:gd name="connsiteY5" fmla="*/ 155904 h 157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523" h="157265">
                <a:moveTo>
                  <a:pt x="30862" y="155904"/>
                </a:moveTo>
                <a:cubicBezTo>
                  <a:pt x="109032" y="148966"/>
                  <a:pt x="165185" y="121584"/>
                  <a:pt x="205519" y="86060"/>
                </a:cubicBezTo>
                <a:cubicBezTo>
                  <a:pt x="218932" y="74219"/>
                  <a:pt x="230589" y="61545"/>
                  <a:pt x="240765" y="48316"/>
                </a:cubicBezTo>
                <a:cubicBezTo>
                  <a:pt x="184704" y="12700"/>
                  <a:pt x="107829" y="-7929"/>
                  <a:pt x="6717" y="19084"/>
                </a:cubicBezTo>
                <a:cubicBezTo>
                  <a:pt x="31509" y="43784"/>
                  <a:pt x="56579" y="62563"/>
                  <a:pt x="81464" y="76439"/>
                </a:cubicBezTo>
                <a:cubicBezTo>
                  <a:pt x="62777" y="97994"/>
                  <a:pt x="45663" y="124174"/>
                  <a:pt x="30862" y="155904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26" name="Freeform: Shape 725">
            <a:extLst>
              <a:ext uri="{FF2B5EF4-FFF2-40B4-BE49-F238E27FC236}">
                <a16:creationId xmlns="" xmlns:a16="http://schemas.microsoft.com/office/drawing/2014/main" id="{6B1488CB-5545-42B3-895E-74599958404B}"/>
              </a:ext>
            </a:extLst>
          </p:cNvPr>
          <p:cNvSpPr/>
          <p:nvPr/>
        </p:nvSpPr>
        <p:spPr>
          <a:xfrm>
            <a:off x="1792121" y="3489440"/>
            <a:ext cx="240523" cy="185018"/>
          </a:xfrm>
          <a:custGeom>
            <a:avLst/>
            <a:gdLst>
              <a:gd name="connsiteX0" fmla="*/ 76191 w 240523"/>
              <a:gd name="connsiteY0" fmla="*/ 6717 h 185017"/>
              <a:gd name="connsiteX1" fmla="*/ 96543 w 240523"/>
              <a:gd name="connsiteY1" fmla="*/ 98671 h 185017"/>
              <a:gd name="connsiteX2" fmla="*/ 85904 w 240523"/>
              <a:gd name="connsiteY2" fmla="*/ 100613 h 185017"/>
              <a:gd name="connsiteX3" fmla="*/ 72306 w 240523"/>
              <a:gd name="connsiteY3" fmla="*/ 103666 h 185017"/>
              <a:gd name="connsiteX4" fmla="*/ 6717 w 240523"/>
              <a:gd name="connsiteY4" fmla="*/ 126978 h 185017"/>
              <a:gd name="connsiteX5" fmla="*/ 198673 w 240523"/>
              <a:gd name="connsiteY5" fmla="*/ 185074 h 185017"/>
              <a:gd name="connsiteX6" fmla="*/ 224298 w 240523"/>
              <a:gd name="connsiteY6" fmla="*/ 181929 h 185017"/>
              <a:gd name="connsiteX7" fmla="*/ 236602 w 240523"/>
              <a:gd name="connsiteY7" fmla="*/ 179523 h 185017"/>
              <a:gd name="connsiteX8" fmla="*/ 216435 w 240523"/>
              <a:gd name="connsiteY8" fmla="*/ 132066 h 185017"/>
              <a:gd name="connsiteX9" fmla="*/ 76191 w 240523"/>
              <a:gd name="connsiteY9" fmla="*/ 6717 h 185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523" h="185017">
                <a:moveTo>
                  <a:pt x="76191" y="6717"/>
                </a:moveTo>
                <a:cubicBezTo>
                  <a:pt x="79244" y="41593"/>
                  <a:pt x="86460" y="72028"/>
                  <a:pt x="96543" y="98671"/>
                </a:cubicBezTo>
                <a:cubicBezTo>
                  <a:pt x="93028" y="99226"/>
                  <a:pt x="89512" y="99873"/>
                  <a:pt x="85904" y="100613"/>
                </a:cubicBezTo>
                <a:cubicBezTo>
                  <a:pt x="81372" y="101538"/>
                  <a:pt x="76839" y="102556"/>
                  <a:pt x="72306" y="103666"/>
                </a:cubicBezTo>
                <a:cubicBezTo>
                  <a:pt x="51399" y="108846"/>
                  <a:pt x="29474" y="116432"/>
                  <a:pt x="6717" y="126978"/>
                </a:cubicBezTo>
                <a:cubicBezTo>
                  <a:pt x="76376" y="175638"/>
                  <a:pt x="141780" y="189329"/>
                  <a:pt x="198673" y="185074"/>
                </a:cubicBezTo>
                <a:cubicBezTo>
                  <a:pt x="207461" y="184426"/>
                  <a:pt x="215972" y="183316"/>
                  <a:pt x="224298" y="181929"/>
                </a:cubicBezTo>
                <a:cubicBezTo>
                  <a:pt x="228461" y="181189"/>
                  <a:pt x="232531" y="180356"/>
                  <a:pt x="236602" y="179523"/>
                </a:cubicBezTo>
                <a:cubicBezTo>
                  <a:pt x="231606" y="163705"/>
                  <a:pt x="224945" y="147700"/>
                  <a:pt x="216435" y="132066"/>
                </a:cubicBezTo>
                <a:cubicBezTo>
                  <a:pt x="190717" y="84887"/>
                  <a:pt x="147330" y="39927"/>
                  <a:pt x="76191" y="6717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27" name="Freeform: Shape 726">
            <a:extLst>
              <a:ext uri="{FF2B5EF4-FFF2-40B4-BE49-F238E27FC236}">
                <a16:creationId xmlns="" xmlns:a16="http://schemas.microsoft.com/office/drawing/2014/main" id="{DA417195-FC86-4C49-9304-9135DF72EBB6}"/>
              </a:ext>
            </a:extLst>
          </p:cNvPr>
          <p:cNvSpPr/>
          <p:nvPr/>
        </p:nvSpPr>
        <p:spPr>
          <a:xfrm>
            <a:off x="-6717" y="3641154"/>
            <a:ext cx="212771" cy="416290"/>
          </a:xfrm>
          <a:custGeom>
            <a:avLst/>
            <a:gdLst>
              <a:gd name="connsiteX0" fmla="*/ 82574 w 212770"/>
              <a:gd name="connsiteY0" fmla="*/ 394144 h 416290"/>
              <a:gd name="connsiteX1" fmla="*/ 151123 w 212770"/>
              <a:gd name="connsiteY1" fmla="*/ 355383 h 416290"/>
              <a:gd name="connsiteX2" fmla="*/ 189885 w 212770"/>
              <a:gd name="connsiteY2" fmla="*/ 286834 h 416290"/>
              <a:gd name="connsiteX3" fmla="*/ 210977 w 212770"/>
              <a:gd name="connsiteY3" fmla="*/ 210976 h 416290"/>
              <a:gd name="connsiteX4" fmla="*/ 189885 w 212770"/>
              <a:gd name="connsiteY4" fmla="*/ 135119 h 416290"/>
              <a:gd name="connsiteX5" fmla="*/ 151123 w 212770"/>
              <a:gd name="connsiteY5" fmla="*/ 66570 h 416290"/>
              <a:gd name="connsiteX6" fmla="*/ 82574 w 212770"/>
              <a:gd name="connsiteY6" fmla="*/ 27809 h 416290"/>
              <a:gd name="connsiteX7" fmla="*/ 6717 w 212770"/>
              <a:gd name="connsiteY7" fmla="*/ 6717 h 416290"/>
              <a:gd name="connsiteX8" fmla="*/ 6717 w 212770"/>
              <a:gd name="connsiteY8" fmla="*/ 415144 h 416290"/>
              <a:gd name="connsiteX9" fmla="*/ 82574 w 212770"/>
              <a:gd name="connsiteY9" fmla="*/ 394144 h 416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2770" h="416290">
                <a:moveTo>
                  <a:pt x="82574" y="394144"/>
                </a:moveTo>
                <a:cubicBezTo>
                  <a:pt x="102464" y="365559"/>
                  <a:pt x="130031" y="357141"/>
                  <a:pt x="151123" y="355383"/>
                </a:cubicBezTo>
                <a:cubicBezTo>
                  <a:pt x="152881" y="334291"/>
                  <a:pt x="161299" y="306816"/>
                  <a:pt x="189885" y="286834"/>
                </a:cubicBezTo>
                <a:cubicBezTo>
                  <a:pt x="183779" y="252513"/>
                  <a:pt x="197285" y="227166"/>
                  <a:pt x="210977" y="210976"/>
                </a:cubicBezTo>
                <a:cubicBezTo>
                  <a:pt x="197285" y="194787"/>
                  <a:pt x="183779" y="169440"/>
                  <a:pt x="189885" y="135119"/>
                </a:cubicBezTo>
                <a:cubicBezTo>
                  <a:pt x="161299" y="115230"/>
                  <a:pt x="152881" y="87662"/>
                  <a:pt x="151123" y="66570"/>
                </a:cubicBezTo>
                <a:cubicBezTo>
                  <a:pt x="130031" y="64812"/>
                  <a:pt x="102556" y="56394"/>
                  <a:pt x="82574" y="27809"/>
                </a:cubicBezTo>
                <a:cubicBezTo>
                  <a:pt x="48253" y="33914"/>
                  <a:pt x="22906" y="20408"/>
                  <a:pt x="6717" y="6717"/>
                </a:cubicBezTo>
                <a:lnTo>
                  <a:pt x="6717" y="415144"/>
                </a:lnTo>
                <a:cubicBezTo>
                  <a:pt x="22906" y="401545"/>
                  <a:pt x="48253" y="388039"/>
                  <a:pt x="82574" y="394144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chemeClr val="accent5"/>
              </a:gs>
            </a:gsLst>
            <a:lin ang="8100000" scaled="1"/>
            <a:tileRect/>
          </a:gradFill>
          <a:ln w="9525" cap="rnd">
            <a:solidFill>
              <a:schemeClr val="accent5"/>
            </a:solidFill>
            <a:prstDash val="solid"/>
            <a:round/>
          </a:ln>
          <a:effectLst>
            <a:outerShdw blurRad="165100" sx="102000" sy="102000" algn="ctr" rotWithShape="0">
              <a:prstClr val="black">
                <a:alpha val="62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28" name="Freeform: Shape 727">
            <a:extLst>
              <a:ext uri="{FF2B5EF4-FFF2-40B4-BE49-F238E27FC236}">
                <a16:creationId xmlns="" xmlns:a16="http://schemas.microsoft.com/office/drawing/2014/main" id="{43CCFDFB-AAC5-49D6-8662-F5BD6248E21C}"/>
              </a:ext>
            </a:extLst>
          </p:cNvPr>
          <p:cNvSpPr/>
          <p:nvPr/>
        </p:nvSpPr>
        <p:spPr>
          <a:xfrm>
            <a:off x="258599" y="1020189"/>
            <a:ext cx="407040" cy="407040"/>
          </a:xfrm>
          <a:custGeom>
            <a:avLst/>
            <a:gdLst>
              <a:gd name="connsiteX0" fmla="*/ 290997 w 407039"/>
              <a:gd name="connsiteY0" fmla="*/ 389797 h 407039"/>
              <a:gd name="connsiteX1" fmla="*/ 350850 w 407039"/>
              <a:gd name="connsiteY1" fmla="*/ 338639 h 407039"/>
              <a:gd name="connsiteX2" fmla="*/ 396550 w 407039"/>
              <a:gd name="connsiteY2" fmla="*/ 274530 h 407039"/>
              <a:gd name="connsiteX3" fmla="*/ 402655 w 407039"/>
              <a:gd name="connsiteY3" fmla="*/ 196083 h 407039"/>
              <a:gd name="connsiteX4" fmla="*/ 389704 w 407039"/>
              <a:gd name="connsiteY4" fmla="*/ 118468 h 407039"/>
              <a:gd name="connsiteX5" fmla="*/ 338547 w 407039"/>
              <a:gd name="connsiteY5" fmla="*/ 58614 h 407039"/>
              <a:gd name="connsiteX6" fmla="*/ 274438 w 407039"/>
              <a:gd name="connsiteY6" fmla="*/ 12915 h 407039"/>
              <a:gd name="connsiteX7" fmla="*/ 195990 w 407039"/>
              <a:gd name="connsiteY7" fmla="*/ 6717 h 407039"/>
              <a:gd name="connsiteX8" fmla="*/ 118375 w 407039"/>
              <a:gd name="connsiteY8" fmla="*/ 19668 h 407039"/>
              <a:gd name="connsiteX9" fmla="*/ 58522 w 407039"/>
              <a:gd name="connsiteY9" fmla="*/ 70825 h 407039"/>
              <a:gd name="connsiteX10" fmla="*/ 12822 w 407039"/>
              <a:gd name="connsiteY10" fmla="*/ 134934 h 407039"/>
              <a:gd name="connsiteX11" fmla="*/ 6717 w 407039"/>
              <a:gd name="connsiteY11" fmla="*/ 213382 h 407039"/>
              <a:gd name="connsiteX12" fmla="*/ 19668 w 407039"/>
              <a:gd name="connsiteY12" fmla="*/ 290997 h 407039"/>
              <a:gd name="connsiteX13" fmla="*/ 70825 w 407039"/>
              <a:gd name="connsiteY13" fmla="*/ 350850 h 407039"/>
              <a:gd name="connsiteX14" fmla="*/ 134934 w 407039"/>
              <a:gd name="connsiteY14" fmla="*/ 396550 h 407039"/>
              <a:gd name="connsiteX15" fmla="*/ 213382 w 407039"/>
              <a:gd name="connsiteY15" fmla="*/ 402655 h 407039"/>
              <a:gd name="connsiteX16" fmla="*/ 290997 w 407039"/>
              <a:gd name="connsiteY16" fmla="*/ 389797 h 407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07039" h="407039">
                <a:moveTo>
                  <a:pt x="290997" y="389797"/>
                </a:moveTo>
                <a:cubicBezTo>
                  <a:pt x="299878" y="370555"/>
                  <a:pt x="317177" y="347612"/>
                  <a:pt x="350850" y="338639"/>
                </a:cubicBezTo>
                <a:cubicBezTo>
                  <a:pt x="356863" y="304318"/>
                  <a:pt x="378233" y="285076"/>
                  <a:pt x="396550" y="274530"/>
                </a:cubicBezTo>
                <a:cubicBezTo>
                  <a:pt x="389241" y="254641"/>
                  <a:pt x="385264" y="226148"/>
                  <a:pt x="402655" y="196083"/>
                </a:cubicBezTo>
                <a:cubicBezTo>
                  <a:pt x="382673" y="167590"/>
                  <a:pt x="384154" y="138820"/>
                  <a:pt x="389704" y="118468"/>
                </a:cubicBezTo>
                <a:cubicBezTo>
                  <a:pt x="370462" y="109587"/>
                  <a:pt x="347520" y="92288"/>
                  <a:pt x="338547" y="58614"/>
                </a:cubicBezTo>
                <a:cubicBezTo>
                  <a:pt x="304226" y="52601"/>
                  <a:pt x="284984" y="31232"/>
                  <a:pt x="274438" y="12915"/>
                </a:cubicBezTo>
                <a:cubicBezTo>
                  <a:pt x="254548" y="20223"/>
                  <a:pt x="226056" y="24201"/>
                  <a:pt x="195990" y="6717"/>
                </a:cubicBezTo>
                <a:cubicBezTo>
                  <a:pt x="167497" y="26791"/>
                  <a:pt x="138727" y="25219"/>
                  <a:pt x="118375" y="19668"/>
                </a:cubicBezTo>
                <a:cubicBezTo>
                  <a:pt x="109494" y="38910"/>
                  <a:pt x="92195" y="61852"/>
                  <a:pt x="58522" y="70825"/>
                </a:cubicBezTo>
                <a:cubicBezTo>
                  <a:pt x="52509" y="105146"/>
                  <a:pt x="31139" y="124388"/>
                  <a:pt x="12822" y="134934"/>
                </a:cubicBezTo>
                <a:cubicBezTo>
                  <a:pt x="20131" y="154824"/>
                  <a:pt x="24108" y="183316"/>
                  <a:pt x="6717" y="213382"/>
                </a:cubicBezTo>
                <a:cubicBezTo>
                  <a:pt x="26699" y="241875"/>
                  <a:pt x="25219" y="270645"/>
                  <a:pt x="19668" y="290997"/>
                </a:cubicBezTo>
                <a:cubicBezTo>
                  <a:pt x="38910" y="299878"/>
                  <a:pt x="61852" y="317177"/>
                  <a:pt x="70825" y="350850"/>
                </a:cubicBezTo>
                <a:cubicBezTo>
                  <a:pt x="105146" y="356863"/>
                  <a:pt x="124388" y="378233"/>
                  <a:pt x="134934" y="396550"/>
                </a:cubicBezTo>
                <a:cubicBezTo>
                  <a:pt x="154824" y="389242"/>
                  <a:pt x="183316" y="385264"/>
                  <a:pt x="213382" y="402655"/>
                </a:cubicBezTo>
                <a:cubicBezTo>
                  <a:pt x="241782" y="382673"/>
                  <a:pt x="270552" y="384246"/>
                  <a:pt x="290997" y="389797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chemeClr val="accent5"/>
              </a:gs>
            </a:gsLst>
            <a:lin ang="8100000" scaled="1"/>
            <a:tileRect/>
          </a:gradFill>
          <a:ln w="9525" cap="rnd">
            <a:solidFill>
              <a:schemeClr val="accent5"/>
            </a:solidFill>
            <a:prstDash val="solid"/>
            <a:round/>
          </a:ln>
          <a:effectLst>
            <a:outerShdw blurRad="165100" sx="102000" sy="102000" algn="ctr" rotWithShape="0">
              <a:prstClr val="black">
                <a:alpha val="62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29" name="Freeform: Shape 728">
            <a:extLst>
              <a:ext uri="{FF2B5EF4-FFF2-40B4-BE49-F238E27FC236}">
                <a16:creationId xmlns="" xmlns:a16="http://schemas.microsoft.com/office/drawing/2014/main" id="{F075D5FD-22CF-481E-8C36-8C37B73AB0FE}"/>
              </a:ext>
            </a:extLst>
          </p:cNvPr>
          <p:cNvSpPr/>
          <p:nvPr/>
        </p:nvSpPr>
        <p:spPr>
          <a:xfrm>
            <a:off x="969068" y="1616410"/>
            <a:ext cx="407040" cy="407040"/>
          </a:xfrm>
          <a:custGeom>
            <a:avLst/>
            <a:gdLst>
              <a:gd name="connsiteX0" fmla="*/ 101816 w 407039"/>
              <a:gd name="connsiteY0" fmla="*/ 27161 h 407039"/>
              <a:gd name="connsiteX1" fmla="*/ 46681 w 407039"/>
              <a:gd name="connsiteY1" fmla="*/ 83314 h 407039"/>
              <a:gd name="connsiteX2" fmla="*/ 6717 w 407039"/>
              <a:gd name="connsiteY2" fmla="*/ 151123 h 407039"/>
              <a:gd name="connsiteX3" fmla="*/ 7457 w 407039"/>
              <a:gd name="connsiteY3" fmla="*/ 229849 h 407039"/>
              <a:gd name="connsiteX4" fmla="*/ 27161 w 407039"/>
              <a:gd name="connsiteY4" fmla="*/ 306076 h 407039"/>
              <a:gd name="connsiteX5" fmla="*/ 83314 w 407039"/>
              <a:gd name="connsiteY5" fmla="*/ 361211 h 407039"/>
              <a:gd name="connsiteX6" fmla="*/ 151123 w 407039"/>
              <a:gd name="connsiteY6" fmla="*/ 401175 h 407039"/>
              <a:gd name="connsiteX7" fmla="*/ 229849 w 407039"/>
              <a:gd name="connsiteY7" fmla="*/ 400435 h 407039"/>
              <a:gd name="connsiteX8" fmla="*/ 306076 w 407039"/>
              <a:gd name="connsiteY8" fmla="*/ 380731 h 407039"/>
              <a:gd name="connsiteX9" fmla="*/ 361211 w 407039"/>
              <a:gd name="connsiteY9" fmla="*/ 324578 h 407039"/>
              <a:gd name="connsiteX10" fmla="*/ 401175 w 407039"/>
              <a:gd name="connsiteY10" fmla="*/ 256769 h 407039"/>
              <a:gd name="connsiteX11" fmla="*/ 400435 w 407039"/>
              <a:gd name="connsiteY11" fmla="*/ 178043 h 407039"/>
              <a:gd name="connsiteX12" fmla="*/ 380731 w 407039"/>
              <a:gd name="connsiteY12" fmla="*/ 101816 h 407039"/>
              <a:gd name="connsiteX13" fmla="*/ 324578 w 407039"/>
              <a:gd name="connsiteY13" fmla="*/ 46681 h 407039"/>
              <a:gd name="connsiteX14" fmla="*/ 256769 w 407039"/>
              <a:gd name="connsiteY14" fmla="*/ 6717 h 407039"/>
              <a:gd name="connsiteX15" fmla="*/ 178043 w 407039"/>
              <a:gd name="connsiteY15" fmla="*/ 7457 h 407039"/>
              <a:gd name="connsiteX16" fmla="*/ 101816 w 407039"/>
              <a:gd name="connsiteY16" fmla="*/ 27161 h 407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07039" h="407039">
                <a:moveTo>
                  <a:pt x="101816" y="27161"/>
                </a:moveTo>
                <a:cubicBezTo>
                  <a:pt x="94600" y="47051"/>
                  <a:pt x="79429" y="71473"/>
                  <a:pt x="46681" y="83314"/>
                </a:cubicBezTo>
                <a:cubicBezTo>
                  <a:pt x="43720" y="118005"/>
                  <a:pt x="24108" y="139005"/>
                  <a:pt x="6717" y="151123"/>
                </a:cubicBezTo>
                <a:cubicBezTo>
                  <a:pt x="15690" y="170273"/>
                  <a:pt x="22166" y="198303"/>
                  <a:pt x="7457" y="229849"/>
                </a:cubicBezTo>
                <a:cubicBezTo>
                  <a:pt x="29844" y="256491"/>
                  <a:pt x="30862" y="285261"/>
                  <a:pt x="27161" y="306076"/>
                </a:cubicBezTo>
                <a:cubicBezTo>
                  <a:pt x="47051" y="313292"/>
                  <a:pt x="71473" y="328463"/>
                  <a:pt x="83314" y="361211"/>
                </a:cubicBezTo>
                <a:cubicBezTo>
                  <a:pt x="118005" y="364172"/>
                  <a:pt x="139005" y="383784"/>
                  <a:pt x="151123" y="401175"/>
                </a:cubicBezTo>
                <a:cubicBezTo>
                  <a:pt x="170273" y="392202"/>
                  <a:pt x="198303" y="385726"/>
                  <a:pt x="229849" y="400435"/>
                </a:cubicBezTo>
                <a:cubicBezTo>
                  <a:pt x="256491" y="378048"/>
                  <a:pt x="285261" y="377030"/>
                  <a:pt x="306076" y="380731"/>
                </a:cubicBezTo>
                <a:cubicBezTo>
                  <a:pt x="313292" y="360841"/>
                  <a:pt x="328463" y="336419"/>
                  <a:pt x="361211" y="324578"/>
                </a:cubicBezTo>
                <a:cubicBezTo>
                  <a:pt x="364171" y="289887"/>
                  <a:pt x="383783" y="268887"/>
                  <a:pt x="401175" y="256769"/>
                </a:cubicBezTo>
                <a:cubicBezTo>
                  <a:pt x="392202" y="237619"/>
                  <a:pt x="385726" y="209589"/>
                  <a:pt x="400435" y="178043"/>
                </a:cubicBezTo>
                <a:cubicBezTo>
                  <a:pt x="377955" y="151401"/>
                  <a:pt x="377030" y="122631"/>
                  <a:pt x="380731" y="101816"/>
                </a:cubicBezTo>
                <a:cubicBezTo>
                  <a:pt x="360841" y="94600"/>
                  <a:pt x="336419" y="79429"/>
                  <a:pt x="324578" y="46681"/>
                </a:cubicBezTo>
                <a:cubicBezTo>
                  <a:pt x="289887" y="43720"/>
                  <a:pt x="268795" y="24108"/>
                  <a:pt x="256769" y="6717"/>
                </a:cubicBezTo>
                <a:cubicBezTo>
                  <a:pt x="237619" y="15690"/>
                  <a:pt x="209589" y="22166"/>
                  <a:pt x="178043" y="7457"/>
                </a:cubicBezTo>
                <a:cubicBezTo>
                  <a:pt x="151401" y="29937"/>
                  <a:pt x="122631" y="30954"/>
                  <a:pt x="101816" y="27161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chemeClr val="accent5"/>
              </a:gs>
            </a:gsLst>
            <a:lin ang="8100000" scaled="1"/>
            <a:tileRect/>
          </a:gradFill>
          <a:ln w="9525" cap="rnd">
            <a:solidFill>
              <a:schemeClr val="accent5"/>
            </a:solidFill>
            <a:prstDash val="solid"/>
            <a:round/>
          </a:ln>
          <a:effectLst>
            <a:outerShdw blurRad="165100" sx="102000" sy="102000" algn="ctr" rotWithShape="0">
              <a:prstClr val="black">
                <a:alpha val="62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30" name="Freeform: Shape 729">
            <a:extLst>
              <a:ext uri="{FF2B5EF4-FFF2-40B4-BE49-F238E27FC236}">
                <a16:creationId xmlns="" xmlns:a16="http://schemas.microsoft.com/office/drawing/2014/main" id="{13094BC8-3B9D-421C-92DF-B70496D51AD8}"/>
              </a:ext>
            </a:extLst>
          </p:cNvPr>
          <p:cNvSpPr/>
          <p:nvPr/>
        </p:nvSpPr>
        <p:spPr>
          <a:xfrm>
            <a:off x="1126056" y="2525033"/>
            <a:ext cx="407040" cy="407040"/>
          </a:xfrm>
          <a:custGeom>
            <a:avLst/>
            <a:gdLst>
              <a:gd name="connsiteX0" fmla="*/ 101353 w 407039"/>
              <a:gd name="connsiteY0" fmla="*/ 374995 h 407039"/>
              <a:gd name="connsiteX1" fmla="*/ 172400 w 407039"/>
              <a:gd name="connsiteY1" fmla="*/ 408946 h 407039"/>
              <a:gd name="connsiteX2" fmla="*/ 250756 w 407039"/>
              <a:gd name="connsiteY2" fmla="*/ 401360 h 407039"/>
              <a:gd name="connsiteX3" fmla="*/ 324948 w 407039"/>
              <a:gd name="connsiteY3" fmla="*/ 375087 h 407039"/>
              <a:gd name="connsiteX4" fmla="*/ 374995 w 407039"/>
              <a:gd name="connsiteY4" fmla="*/ 314309 h 407039"/>
              <a:gd name="connsiteX5" fmla="*/ 408946 w 407039"/>
              <a:gd name="connsiteY5" fmla="*/ 243262 h 407039"/>
              <a:gd name="connsiteX6" fmla="*/ 401360 w 407039"/>
              <a:gd name="connsiteY6" fmla="*/ 164907 h 407039"/>
              <a:gd name="connsiteX7" fmla="*/ 375088 w 407039"/>
              <a:gd name="connsiteY7" fmla="*/ 90715 h 407039"/>
              <a:gd name="connsiteX8" fmla="*/ 314309 w 407039"/>
              <a:gd name="connsiteY8" fmla="*/ 40667 h 407039"/>
              <a:gd name="connsiteX9" fmla="*/ 243262 w 407039"/>
              <a:gd name="connsiteY9" fmla="*/ 6717 h 407039"/>
              <a:gd name="connsiteX10" fmla="*/ 164907 w 407039"/>
              <a:gd name="connsiteY10" fmla="*/ 14302 h 407039"/>
              <a:gd name="connsiteX11" fmla="*/ 90715 w 407039"/>
              <a:gd name="connsiteY11" fmla="*/ 40575 h 407039"/>
              <a:gd name="connsiteX12" fmla="*/ 40668 w 407039"/>
              <a:gd name="connsiteY12" fmla="*/ 101353 h 407039"/>
              <a:gd name="connsiteX13" fmla="*/ 6717 w 407039"/>
              <a:gd name="connsiteY13" fmla="*/ 172400 h 407039"/>
              <a:gd name="connsiteX14" fmla="*/ 14302 w 407039"/>
              <a:gd name="connsiteY14" fmla="*/ 250755 h 407039"/>
              <a:gd name="connsiteX15" fmla="*/ 40575 w 407039"/>
              <a:gd name="connsiteY15" fmla="*/ 324948 h 407039"/>
              <a:gd name="connsiteX16" fmla="*/ 101353 w 407039"/>
              <a:gd name="connsiteY16" fmla="*/ 374995 h 407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07039" h="407039">
                <a:moveTo>
                  <a:pt x="101353" y="374995"/>
                </a:moveTo>
                <a:cubicBezTo>
                  <a:pt x="136137" y="374902"/>
                  <a:pt x="158894" y="392664"/>
                  <a:pt x="172400" y="408946"/>
                </a:cubicBezTo>
                <a:cubicBezTo>
                  <a:pt x="190717" y="398307"/>
                  <a:pt x="218100" y="389426"/>
                  <a:pt x="250756" y="401360"/>
                </a:cubicBezTo>
                <a:cubicBezTo>
                  <a:pt x="275363" y="376660"/>
                  <a:pt x="303948" y="373237"/>
                  <a:pt x="324948" y="375087"/>
                </a:cubicBezTo>
                <a:cubicBezTo>
                  <a:pt x="330406" y="354643"/>
                  <a:pt x="343450" y="329018"/>
                  <a:pt x="374995" y="314309"/>
                </a:cubicBezTo>
                <a:cubicBezTo>
                  <a:pt x="374903" y="279526"/>
                  <a:pt x="392664" y="256769"/>
                  <a:pt x="408946" y="243262"/>
                </a:cubicBezTo>
                <a:cubicBezTo>
                  <a:pt x="398307" y="224945"/>
                  <a:pt x="389427" y="197563"/>
                  <a:pt x="401360" y="164907"/>
                </a:cubicBezTo>
                <a:cubicBezTo>
                  <a:pt x="376660" y="140300"/>
                  <a:pt x="373238" y="111714"/>
                  <a:pt x="375088" y="90715"/>
                </a:cubicBezTo>
                <a:cubicBezTo>
                  <a:pt x="354643" y="85257"/>
                  <a:pt x="329018" y="72213"/>
                  <a:pt x="314309" y="40667"/>
                </a:cubicBezTo>
                <a:cubicBezTo>
                  <a:pt x="279526" y="40760"/>
                  <a:pt x="256769" y="22998"/>
                  <a:pt x="243262" y="6717"/>
                </a:cubicBezTo>
                <a:cubicBezTo>
                  <a:pt x="224945" y="17355"/>
                  <a:pt x="197563" y="26236"/>
                  <a:pt x="164907" y="14302"/>
                </a:cubicBezTo>
                <a:cubicBezTo>
                  <a:pt x="140300" y="39002"/>
                  <a:pt x="111715" y="42425"/>
                  <a:pt x="90715" y="40575"/>
                </a:cubicBezTo>
                <a:cubicBezTo>
                  <a:pt x="85257" y="61019"/>
                  <a:pt x="72213" y="86644"/>
                  <a:pt x="40668" y="101353"/>
                </a:cubicBezTo>
                <a:cubicBezTo>
                  <a:pt x="40760" y="136137"/>
                  <a:pt x="22998" y="158802"/>
                  <a:pt x="6717" y="172400"/>
                </a:cubicBezTo>
                <a:cubicBezTo>
                  <a:pt x="17355" y="190717"/>
                  <a:pt x="26236" y="218100"/>
                  <a:pt x="14302" y="250755"/>
                </a:cubicBezTo>
                <a:cubicBezTo>
                  <a:pt x="39002" y="275363"/>
                  <a:pt x="42425" y="303948"/>
                  <a:pt x="40575" y="324948"/>
                </a:cubicBezTo>
                <a:cubicBezTo>
                  <a:pt x="61020" y="330406"/>
                  <a:pt x="86645" y="343449"/>
                  <a:pt x="101353" y="374995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chemeClr val="accent5"/>
              </a:gs>
            </a:gsLst>
            <a:lin ang="8100000" scaled="1"/>
            <a:tileRect/>
          </a:gradFill>
          <a:ln w="9525" cap="rnd">
            <a:solidFill>
              <a:schemeClr val="accent5"/>
            </a:solidFill>
            <a:prstDash val="solid"/>
            <a:round/>
          </a:ln>
          <a:effectLst>
            <a:outerShdw blurRad="165100" sx="102000" sy="102000" algn="ctr" rotWithShape="0">
              <a:prstClr val="black">
                <a:alpha val="62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31" name="Freeform: Shape 730">
            <a:extLst>
              <a:ext uri="{FF2B5EF4-FFF2-40B4-BE49-F238E27FC236}">
                <a16:creationId xmlns="" xmlns:a16="http://schemas.microsoft.com/office/drawing/2014/main" id="{96DDF899-A68C-4868-B8E0-EFBEDBB3EA50}"/>
              </a:ext>
            </a:extLst>
          </p:cNvPr>
          <p:cNvSpPr/>
          <p:nvPr/>
        </p:nvSpPr>
        <p:spPr>
          <a:xfrm>
            <a:off x="660366" y="3325051"/>
            <a:ext cx="416291" cy="416290"/>
          </a:xfrm>
          <a:custGeom>
            <a:avLst/>
            <a:gdLst>
              <a:gd name="connsiteX0" fmla="*/ 386096 w 416290"/>
              <a:gd name="connsiteY0" fmla="*/ 301728 h 416290"/>
              <a:gd name="connsiteX1" fmla="*/ 413664 w 416290"/>
              <a:gd name="connsiteY1" fmla="*/ 227998 h 416290"/>
              <a:gd name="connsiteX2" fmla="*/ 399325 w 416290"/>
              <a:gd name="connsiteY2" fmla="*/ 150568 h 416290"/>
              <a:gd name="connsiteX3" fmla="*/ 366669 w 416290"/>
              <a:gd name="connsiteY3" fmla="*/ 78874 h 416290"/>
              <a:gd name="connsiteX4" fmla="*/ 301728 w 416290"/>
              <a:gd name="connsiteY4" fmla="*/ 34285 h 416290"/>
              <a:gd name="connsiteX5" fmla="*/ 227998 w 416290"/>
              <a:gd name="connsiteY5" fmla="*/ 6717 h 416290"/>
              <a:gd name="connsiteX6" fmla="*/ 150568 w 416290"/>
              <a:gd name="connsiteY6" fmla="*/ 21056 h 416290"/>
              <a:gd name="connsiteX7" fmla="*/ 78874 w 416290"/>
              <a:gd name="connsiteY7" fmla="*/ 53711 h 416290"/>
              <a:gd name="connsiteX8" fmla="*/ 34284 w 416290"/>
              <a:gd name="connsiteY8" fmla="*/ 118653 h 416290"/>
              <a:gd name="connsiteX9" fmla="*/ 6717 w 416290"/>
              <a:gd name="connsiteY9" fmla="*/ 192382 h 416290"/>
              <a:gd name="connsiteX10" fmla="*/ 21056 w 416290"/>
              <a:gd name="connsiteY10" fmla="*/ 269812 h 416290"/>
              <a:gd name="connsiteX11" fmla="*/ 53711 w 416290"/>
              <a:gd name="connsiteY11" fmla="*/ 341507 h 416290"/>
              <a:gd name="connsiteX12" fmla="*/ 118653 w 416290"/>
              <a:gd name="connsiteY12" fmla="*/ 386096 h 416290"/>
              <a:gd name="connsiteX13" fmla="*/ 192382 w 416290"/>
              <a:gd name="connsiteY13" fmla="*/ 413664 h 416290"/>
              <a:gd name="connsiteX14" fmla="*/ 269812 w 416290"/>
              <a:gd name="connsiteY14" fmla="*/ 399325 h 416290"/>
              <a:gd name="connsiteX15" fmla="*/ 341414 w 416290"/>
              <a:gd name="connsiteY15" fmla="*/ 366669 h 416290"/>
              <a:gd name="connsiteX16" fmla="*/ 386096 w 416290"/>
              <a:gd name="connsiteY16" fmla="*/ 301728 h 416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16290" h="416290">
                <a:moveTo>
                  <a:pt x="386096" y="301728"/>
                </a:moveTo>
                <a:cubicBezTo>
                  <a:pt x="383043" y="267037"/>
                  <a:pt x="398677" y="242892"/>
                  <a:pt x="413664" y="227998"/>
                </a:cubicBezTo>
                <a:cubicBezTo>
                  <a:pt x="401453" y="210699"/>
                  <a:pt x="390259" y="184242"/>
                  <a:pt x="399325" y="150568"/>
                </a:cubicBezTo>
                <a:cubicBezTo>
                  <a:pt x="372590" y="128274"/>
                  <a:pt x="366669" y="100058"/>
                  <a:pt x="366669" y="78874"/>
                </a:cubicBezTo>
                <a:cubicBezTo>
                  <a:pt x="345855" y="75266"/>
                  <a:pt x="319120" y="64535"/>
                  <a:pt x="301728" y="34285"/>
                </a:cubicBezTo>
                <a:cubicBezTo>
                  <a:pt x="267037" y="37337"/>
                  <a:pt x="242892" y="21703"/>
                  <a:pt x="227998" y="6717"/>
                </a:cubicBezTo>
                <a:cubicBezTo>
                  <a:pt x="210699" y="18928"/>
                  <a:pt x="184242" y="30122"/>
                  <a:pt x="150568" y="21056"/>
                </a:cubicBezTo>
                <a:cubicBezTo>
                  <a:pt x="128181" y="47791"/>
                  <a:pt x="100058" y="53711"/>
                  <a:pt x="78874" y="53711"/>
                </a:cubicBezTo>
                <a:cubicBezTo>
                  <a:pt x="75266" y="74526"/>
                  <a:pt x="64535" y="101261"/>
                  <a:pt x="34284" y="118653"/>
                </a:cubicBezTo>
                <a:cubicBezTo>
                  <a:pt x="37337" y="153344"/>
                  <a:pt x="21703" y="177489"/>
                  <a:pt x="6717" y="192382"/>
                </a:cubicBezTo>
                <a:cubicBezTo>
                  <a:pt x="18928" y="209682"/>
                  <a:pt x="30122" y="236139"/>
                  <a:pt x="21056" y="269812"/>
                </a:cubicBezTo>
                <a:cubicBezTo>
                  <a:pt x="47791" y="292107"/>
                  <a:pt x="53711" y="320322"/>
                  <a:pt x="53711" y="341507"/>
                </a:cubicBezTo>
                <a:cubicBezTo>
                  <a:pt x="74526" y="345115"/>
                  <a:pt x="101261" y="355846"/>
                  <a:pt x="118653" y="386096"/>
                </a:cubicBezTo>
                <a:cubicBezTo>
                  <a:pt x="153344" y="383043"/>
                  <a:pt x="177488" y="398677"/>
                  <a:pt x="192382" y="413664"/>
                </a:cubicBezTo>
                <a:cubicBezTo>
                  <a:pt x="209682" y="401453"/>
                  <a:pt x="236139" y="390259"/>
                  <a:pt x="269812" y="399325"/>
                </a:cubicBezTo>
                <a:cubicBezTo>
                  <a:pt x="292107" y="372590"/>
                  <a:pt x="320322" y="366669"/>
                  <a:pt x="341414" y="366669"/>
                </a:cubicBezTo>
                <a:cubicBezTo>
                  <a:pt x="345115" y="345762"/>
                  <a:pt x="355938" y="319120"/>
                  <a:pt x="386096" y="301728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chemeClr val="accent5"/>
              </a:gs>
            </a:gsLst>
            <a:lin ang="8100000" scaled="1"/>
            <a:tileRect/>
          </a:gradFill>
          <a:ln w="9525" cap="rnd">
            <a:solidFill>
              <a:schemeClr val="accent5"/>
            </a:solidFill>
            <a:prstDash val="solid"/>
            <a:round/>
          </a:ln>
          <a:effectLst>
            <a:outerShdw blurRad="165100" sx="102000" sy="102000" algn="ctr" rotWithShape="0">
              <a:prstClr val="black">
                <a:alpha val="62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32" name="Freeform: Shape 731">
            <a:extLst>
              <a:ext uri="{FF2B5EF4-FFF2-40B4-BE49-F238E27FC236}">
                <a16:creationId xmlns="" xmlns:a16="http://schemas.microsoft.com/office/drawing/2014/main" id="{96AA82A3-6FE3-437A-A2DE-D61004946BAF}"/>
              </a:ext>
            </a:extLst>
          </p:cNvPr>
          <p:cNvSpPr/>
          <p:nvPr/>
        </p:nvSpPr>
        <p:spPr>
          <a:xfrm>
            <a:off x="-6717" y="4777257"/>
            <a:ext cx="55505" cy="314531"/>
          </a:xfrm>
          <a:custGeom>
            <a:avLst/>
            <a:gdLst>
              <a:gd name="connsiteX0" fmla="*/ 6717 w 55505"/>
              <a:gd name="connsiteY0" fmla="*/ 309869 h 314530"/>
              <a:gd name="connsiteX1" fmla="*/ 6717 w 55505"/>
              <a:gd name="connsiteY1" fmla="*/ 6717 h 314530"/>
              <a:gd name="connsiteX2" fmla="*/ 6717 w 55505"/>
              <a:gd name="connsiteY2" fmla="*/ 309869 h 314530"/>
              <a:gd name="connsiteX3" fmla="*/ 6717 w 55505"/>
              <a:gd name="connsiteY3" fmla="*/ 309869 h 314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314530">
                <a:moveTo>
                  <a:pt x="6717" y="309869"/>
                </a:moveTo>
                <a:cubicBezTo>
                  <a:pt x="50103" y="240302"/>
                  <a:pt x="80354" y="134564"/>
                  <a:pt x="6717" y="6717"/>
                </a:cubicBezTo>
                <a:lnTo>
                  <a:pt x="6717" y="309869"/>
                </a:lnTo>
                <a:cubicBezTo>
                  <a:pt x="6717" y="309869"/>
                  <a:pt x="6717" y="309869"/>
                  <a:pt x="6717" y="309869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33" name="Freeform: Shape 732">
            <a:extLst>
              <a:ext uri="{FF2B5EF4-FFF2-40B4-BE49-F238E27FC236}">
                <a16:creationId xmlns="" xmlns:a16="http://schemas.microsoft.com/office/drawing/2014/main" id="{E0DA0D50-5B72-4721-9225-3FFE16096948}"/>
              </a:ext>
            </a:extLst>
          </p:cNvPr>
          <p:cNvSpPr/>
          <p:nvPr/>
        </p:nvSpPr>
        <p:spPr>
          <a:xfrm>
            <a:off x="769584" y="57633"/>
            <a:ext cx="129513" cy="296029"/>
          </a:xfrm>
          <a:custGeom>
            <a:avLst/>
            <a:gdLst>
              <a:gd name="connsiteX0" fmla="*/ 116097 w 129512"/>
              <a:gd name="connsiteY0" fmla="*/ 6717 h 296028"/>
              <a:gd name="connsiteX1" fmla="*/ 12395 w 129512"/>
              <a:gd name="connsiteY1" fmla="*/ 291644 h 296028"/>
              <a:gd name="connsiteX2" fmla="*/ 116097 w 129512"/>
              <a:gd name="connsiteY2" fmla="*/ 6717 h 29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512" h="296028">
                <a:moveTo>
                  <a:pt x="116097" y="6717"/>
                </a:moveTo>
                <a:cubicBezTo>
                  <a:pt x="51526" y="57227"/>
                  <a:pt x="-13045" y="146313"/>
                  <a:pt x="12395" y="291644"/>
                </a:cubicBezTo>
                <a:cubicBezTo>
                  <a:pt x="125256" y="196638"/>
                  <a:pt x="133027" y="86922"/>
                  <a:pt x="116097" y="6717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34" name="Freeform: Shape 733">
            <a:extLst>
              <a:ext uri="{FF2B5EF4-FFF2-40B4-BE49-F238E27FC236}">
                <a16:creationId xmlns="" xmlns:a16="http://schemas.microsoft.com/office/drawing/2014/main" id="{DB9420EF-614A-414B-81E0-0B6A5A8BA1AF}"/>
              </a:ext>
            </a:extLst>
          </p:cNvPr>
          <p:cNvSpPr/>
          <p:nvPr/>
        </p:nvSpPr>
        <p:spPr>
          <a:xfrm>
            <a:off x="1973254" y="1196045"/>
            <a:ext cx="268276" cy="157265"/>
          </a:xfrm>
          <a:custGeom>
            <a:avLst/>
            <a:gdLst>
              <a:gd name="connsiteX0" fmla="*/ 269257 w 268276"/>
              <a:gd name="connsiteY0" fmla="*/ 6906 h 157265"/>
              <a:gd name="connsiteX1" fmla="*/ 6717 w 268276"/>
              <a:gd name="connsiteY1" fmla="*/ 158528 h 157265"/>
              <a:gd name="connsiteX2" fmla="*/ 269257 w 268276"/>
              <a:gd name="connsiteY2" fmla="*/ 6906 h 157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276" h="157265">
                <a:moveTo>
                  <a:pt x="269257" y="6906"/>
                </a:moveTo>
                <a:cubicBezTo>
                  <a:pt x="187294" y="4131"/>
                  <a:pt x="80631" y="30774"/>
                  <a:pt x="6717" y="158528"/>
                </a:cubicBezTo>
                <a:cubicBezTo>
                  <a:pt x="154269" y="158343"/>
                  <a:pt x="230774" y="79248"/>
                  <a:pt x="269257" y="690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35" name="Freeform: Shape 734">
            <a:extLst>
              <a:ext uri="{FF2B5EF4-FFF2-40B4-BE49-F238E27FC236}">
                <a16:creationId xmlns="" xmlns:a16="http://schemas.microsoft.com/office/drawing/2014/main" id="{53693A3C-7319-49D8-B47C-DF1AA31E8F5B}"/>
              </a:ext>
            </a:extLst>
          </p:cNvPr>
          <p:cNvSpPr/>
          <p:nvPr/>
        </p:nvSpPr>
        <p:spPr>
          <a:xfrm>
            <a:off x="2244768" y="2866769"/>
            <a:ext cx="305280" cy="101760"/>
          </a:xfrm>
          <a:custGeom>
            <a:avLst/>
            <a:gdLst>
              <a:gd name="connsiteX0" fmla="*/ 305336 w 305279"/>
              <a:gd name="connsiteY0" fmla="*/ 80531 h 101759"/>
              <a:gd name="connsiteX1" fmla="*/ 6717 w 305279"/>
              <a:gd name="connsiteY1" fmla="*/ 27894 h 101759"/>
              <a:gd name="connsiteX2" fmla="*/ 305336 w 305279"/>
              <a:gd name="connsiteY2" fmla="*/ 80531 h 101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5279" h="101759">
                <a:moveTo>
                  <a:pt x="305336" y="80531"/>
                </a:moveTo>
                <a:cubicBezTo>
                  <a:pt x="244372" y="25766"/>
                  <a:pt x="145480" y="-22431"/>
                  <a:pt x="6717" y="27894"/>
                </a:cubicBezTo>
                <a:cubicBezTo>
                  <a:pt x="119948" y="122623"/>
                  <a:pt x="229293" y="111244"/>
                  <a:pt x="305336" y="80531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36" name="Freeform: Shape 735">
            <a:extLst>
              <a:ext uri="{FF2B5EF4-FFF2-40B4-BE49-F238E27FC236}">
                <a16:creationId xmlns="" xmlns:a16="http://schemas.microsoft.com/office/drawing/2014/main" id="{EB65D996-2F9F-4FB2-9226-93F5B74F753B}"/>
              </a:ext>
            </a:extLst>
          </p:cNvPr>
          <p:cNvSpPr/>
          <p:nvPr/>
        </p:nvSpPr>
        <p:spPr>
          <a:xfrm>
            <a:off x="1462881" y="4242278"/>
            <a:ext cx="203520" cy="240523"/>
          </a:xfrm>
          <a:custGeom>
            <a:avLst/>
            <a:gdLst>
              <a:gd name="connsiteX0" fmla="*/ 201633 w 203519"/>
              <a:gd name="connsiteY0" fmla="*/ 239007 h 240523"/>
              <a:gd name="connsiteX1" fmla="*/ 6717 w 203519"/>
              <a:gd name="connsiteY1" fmla="*/ 6717 h 240523"/>
              <a:gd name="connsiteX2" fmla="*/ 201633 w 203519"/>
              <a:gd name="connsiteY2" fmla="*/ 239007 h 24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19" h="240523">
                <a:moveTo>
                  <a:pt x="201633" y="239007"/>
                </a:moveTo>
                <a:cubicBezTo>
                  <a:pt x="190162" y="157784"/>
                  <a:pt x="145388" y="57412"/>
                  <a:pt x="6717" y="6717"/>
                </a:cubicBezTo>
                <a:cubicBezTo>
                  <a:pt x="32527" y="152049"/>
                  <a:pt x="123648" y="213660"/>
                  <a:pt x="201633" y="239007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5875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37" name="Freeform: Shape 736">
            <a:extLst>
              <a:ext uri="{FF2B5EF4-FFF2-40B4-BE49-F238E27FC236}">
                <a16:creationId xmlns="" xmlns:a16="http://schemas.microsoft.com/office/drawing/2014/main" id="{05765927-B30C-48A1-B5B7-7A3834CCD464}"/>
              </a:ext>
            </a:extLst>
          </p:cNvPr>
          <p:cNvSpPr/>
          <p:nvPr/>
        </p:nvSpPr>
        <p:spPr>
          <a:xfrm>
            <a:off x="-6717" y="4086563"/>
            <a:ext cx="120262" cy="212771"/>
          </a:xfrm>
          <a:custGeom>
            <a:avLst/>
            <a:gdLst>
              <a:gd name="connsiteX0" fmla="*/ 96080 w 120261"/>
              <a:gd name="connsiteY0" fmla="*/ 24315 h 212770"/>
              <a:gd name="connsiteX1" fmla="*/ 39372 w 120261"/>
              <a:gd name="connsiteY1" fmla="*/ 61041 h 212770"/>
              <a:gd name="connsiteX2" fmla="*/ 72306 w 120261"/>
              <a:gd name="connsiteY2" fmla="*/ 116547 h 212770"/>
              <a:gd name="connsiteX3" fmla="*/ 6717 w 120261"/>
              <a:gd name="connsiteY3" fmla="*/ 107018 h 212770"/>
              <a:gd name="connsiteX4" fmla="*/ 6717 w 120261"/>
              <a:gd name="connsiteY4" fmla="*/ 213496 h 212770"/>
              <a:gd name="connsiteX5" fmla="*/ 96080 w 120261"/>
              <a:gd name="connsiteY5" fmla="*/ 24315 h 212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0261" h="212770">
                <a:moveTo>
                  <a:pt x="96080" y="24315"/>
                </a:moveTo>
                <a:cubicBezTo>
                  <a:pt x="55932" y="-24992"/>
                  <a:pt x="17540" y="43095"/>
                  <a:pt x="39372" y="61041"/>
                </a:cubicBezTo>
                <a:cubicBezTo>
                  <a:pt x="71566" y="11364"/>
                  <a:pt x="127071" y="78340"/>
                  <a:pt x="72306" y="116547"/>
                </a:cubicBezTo>
                <a:cubicBezTo>
                  <a:pt x="52694" y="130238"/>
                  <a:pt x="26051" y="125890"/>
                  <a:pt x="6717" y="107018"/>
                </a:cubicBezTo>
                <a:lnTo>
                  <a:pt x="6717" y="213496"/>
                </a:lnTo>
                <a:cubicBezTo>
                  <a:pt x="82574" y="121357"/>
                  <a:pt x="157691" y="99895"/>
                  <a:pt x="96080" y="24315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38" name="Freeform: Shape 737">
            <a:extLst>
              <a:ext uri="{FF2B5EF4-FFF2-40B4-BE49-F238E27FC236}">
                <a16:creationId xmlns="" xmlns:a16="http://schemas.microsoft.com/office/drawing/2014/main" id="{48139812-5084-4C94-862F-957745579531}"/>
              </a:ext>
            </a:extLst>
          </p:cNvPr>
          <p:cNvSpPr/>
          <p:nvPr/>
        </p:nvSpPr>
        <p:spPr>
          <a:xfrm>
            <a:off x="453822" y="797243"/>
            <a:ext cx="222022" cy="222022"/>
          </a:xfrm>
          <a:custGeom>
            <a:avLst/>
            <a:gdLst>
              <a:gd name="connsiteX0" fmla="*/ 79770 w 222021"/>
              <a:gd name="connsiteY0" fmla="*/ 138820 h 222021"/>
              <a:gd name="connsiteX1" fmla="*/ 67836 w 222021"/>
              <a:gd name="connsiteY1" fmla="*/ 75358 h 222021"/>
              <a:gd name="connsiteX2" fmla="*/ 126209 w 222021"/>
              <a:gd name="connsiteY2" fmla="*/ 106811 h 222021"/>
              <a:gd name="connsiteX3" fmla="*/ 191151 w 222021"/>
              <a:gd name="connsiteY3" fmla="*/ 120225 h 222021"/>
              <a:gd name="connsiteX4" fmla="*/ 141196 w 222021"/>
              <a:gd name="connsiteY4" fmla="*/ 161114 h 222021"/>
              <a:gd name="connsiteX5" fmla="*/ 181900 w 222021"/>
              <a:gd name="connsiteY5" fmla="*/ 215047 h 222021"/>
              <a:gd name="connsiteX6" fmla="*/ 162658 w 222021"/>
              <a:gd name="connsiteY6" fmla="*/ 6717 h 222021"/>
              <a:gd name="connsiteX7" fmla="*/ 13996 w 222021"/>
              <a:gd name="connsiteY7" fmla="*/ 153899 h 222021"/>
              <a:gd name="connsiteX8" fmla="*/ 79770 w 222021"/>
              <a:gd name="connsiteY8" fmla="*/ 138820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021" h="222021">
                <a:moveTo>
                  <a:pt x="79770" y="138820"/>
                </a:moveTo>
                <a:cubicBezTo>
                  <a:pt x="32498" y="174528"/>
                  <a:pt x="3265" y="92565"/>
                  <a:pt x="67836" y="75358"/>
                </a:cubicBezTo>
                <a:cubicBezTo>
                  <a:pt x="90964" y="69253"/>
                  <a:pt x="114461" y="82389"/>
                  <a:pt x="126209" y="106811"/>
                </a:cubicBezTo>
                <a:cubicBezTo>
                  <a:pt x="150817" y="95618"/>
                  <a:pt x="177367" y="100706"/>
                  <a:pt x="191151" y="120225"/>
                </a:cubicBezTo>
                <a:cubicBezTo>
                  <a:pt x="229542" y="174806"/>
                  <a:pt x="154517" y="218840"/>
                  <a:pt x="141196" y="161114"/>
                </a:cubicBezTo>
                <a:cubicBezTo>
                  <a:pt x="114553" y="170550"/>
                  <a:pt x="127320" y="247610"/>
                  <a:pt x="181900" y="215047"/>
                </a:cubicBezTo>
                <a:cubicBezTo>
                  <a:pt x="265713" y="165000"/>
                  <a:pt x="202344" y="119208"/>
                  <a:pt x="162658" y="6717"/>
                </a:cubicBezTo>
                <a:cubicBezTo>
                  <a:pt x="59880" y="67310"/>
                  <a:pt x="-18012" y="61760"/>
                  <a:pt x="13996" y="153899"/>
                </a:cubicBezTo>
                <a:cubicBezTo>
                  <a:pt x="34811" y="214029"/>
                  <a:pt x="94201" y="163242"/>
                  <a:pt x="79770" y="138820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39" name="Freeform: Shape 738">
            <a:extLst>
              <a:ext uri="{FF2B5EF4-FFF2-40B4-BE49-F238E27FC236}">
                <a16:creationId xmlns="" xmlns:a16="http://schemas.microsoft.com/office/drawing/2014/main" id="{A28ABBC7-1EC0-4434-811F-1FE7087134CC}"/>
              </a:ext>
            </a:extLst>
          </p:cNvPr>
          <p:cNvSpPr/>
          <p:nvPr/>
        </p:nvSpPr>
        <p:spPr>
          <a:xfrm>
            <a:off x="1341497" y="1555730"/>
            <a:ext cx="222022" cy="212771"/>
          </a:xfrm>
          <a:custGeom>
            <a:avLst/>
            <a:gdLst>
              <a:gd name="connsiteX0" fmla="*/ 71023 w 222021"/>
              <a:gd name="connsiteY0" fmla="*/ 88673 h 212770"/>
              <a:gd name="connsiteX1" fmla="*/ 102661 w 222021"/>
              <a:gd name="connsiteY1" fmla="*/ 32428 h 212770"/>
              <a:gd name="connsiteX2" fmla="*/ 127176 w 222021"/>
              <a:gd name="connsiteY2" fmla="*/ 94039 h 212770"/>
              <a:gd name="connsiteX3" fmla="*/ 168250 w 222021"/>
              <a:gd name="connsiteY3" fmla="*/ 146029 h 212770"/>
              <a:gd name="connsiteX4" fmla="*/ 103679 w 222021"/>
              <a:gd name="connsiteY4" fmla="*/ 145289 h 212770"/>
              <a:gd name="connsiteX5" fmla="*/ 100163 w 222021"/>
              <a:gd name="connsiteY5" fmla="*/ 212728 h 212770"/>
              <a:gd name="connsiteX6" fmla="*/ 219315 w 222021"/>
              <a:gd name="connsiteY6" fmla="*/ 40754 h 212770"/>
              <a:gd name="connsiteX7" fmla="*/ 10800 w 222021"/>
              <a:gd name="connsiteY7" fmla="*/ 57960 h 212770"/>
              <a:gd name="connsiteX8" fmla="*/ 71023 w 222021"/>
              <a:gd name="connsiteY8" fmla="*/ 88673 h 212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021" h="212770">
                <a:moveTo>
                  <a:pt x="71023" y="88673"/>
                </a:moveTo>
                <a:cubicBezTo>
                  <a:pt x="11910" y="85621"/>
                  <a:pt x="42160" y="4028"/>
                  <a:pt x="102661" y="32428"/>
                </a:cubicBezTo>
                <a:cubicBezTo>
                  <a:pt x="124308" y="42604"/>
                  <a:pt x="133837" y="67766"/>
                  <a:pt x="127176" y="94039"/>
                </a:cubicBezTo>
                <a:cubicBezTo>
                  <a:pt x="153263" y="101347"/>
                  <a:pt x="170285" y="122254"/>
                  <a:pt x="168250" y="146029"/>
                </a:cubicBezTo>
                <a:cubicBezTo>
                  <a:pt x="162514" y="212543"/>
                  <a:pt x="76758" y="198019"/>
                  <a:pt x="103679" y="145289"/>
                </a:cubicBezTo>
                <a:cubicBezTo>
                  <a:pt x="77129" y="135390"/>
                  <a:pt x="37442" y="202645"/>
                  <a:pt x="100163" y="212728"/>
                </a:cubicBezTo>
                <a:cubicBezTo>
                  <a:pt x="196465" y="228269"/>
                  <a:pt x="177501" y="152505"/>
                  <a:pt x="219315" y="40754"/>
                </a:cubicBezTo>
                <a:cubicBezTo>
                  <a:pt x="101643" y="21142"/>
                  <a:pt x="45490" y="-33253"/>
                  <a:pt x="10800" y="57960"/>
                </a:cubicBezTo>
                <a:cubicBezTo>
                  <a:pt x="-11773" y="117351"/>
                  <a:pt x="66398" y="116611"/>
                  <a:pt x="71023" y="88673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0" name="Freeform: Shape 739">
            <a:extLst>
              <a:ext uri="{FF2B5EF4-FFF2-40B4-BE49-F238E27FC236}">
                <a16:creationId xmlns="" xmlns:a16="http://schemas.microsoft.com/office/drawing/2014/main" id="{50314F0D-C7C6-46FC-9B10-20490A939DBF}"/>
              </a:ext>
            </a:extLst>
          </p:cNvPr>
          <p:cNvSpPr/>
          <p:nvPr/>
        </p:nvSpPr>
        <p:spPr>
          <a:xfrm>
            <a:off x="1553934" y="2668660"/>
            <a:ext cx="222022" cy="231272"/>
          </a:xfrm>
          <a:custGeom>
            <a:avLst/>
            <a:gdLst>
              <a:gd name="connsiteX0" fmla="*/ 50264 w 222021"/>
              <a:gd name="connsiteY0" fmla="*/ 21095 h 231272"/>
              <a:gd name="connsiteX1" fmla="*/ 76629 w 222021"/>
              <a:gd name="connsiteY1" fmla="*/ 83354 h 231272"/>
              <a:gd name="connsiteX2" fmla="*/ 137038 w 222021"/>
              <a:gd name="connsiteY2" fmla="*/ 60596 h 231272"/>
              <a:gd name="connsiteX3" fmla="*/ 116223 w 222021"/>
              <a:gd name="connsiteY3" fmla="*/ 123502 h 231272"/>
              <a:gd name="connsiteX4" fmla="*/ 114281 w 222021"/>
              <a:gd name="connsiteY4" fmla="*/ 189739 h 231272"/>
              <a:gd name="connsiteX5" fmla="*/ 65343 w 222021"/>
              <a:gd name="connsiteY5" fmla="*/ 147647 h 231272"/>
              <a:gd name="connsiteX6" fmla="*/ 19274 w 222021"/>
              <a:gd name="connsiteY6" fmla="*/ 197139 h 231272"/>
              <a:gd name="connsiteX7" fmla="*/ 221129 w 222021"/>
              <a:gd name="connsiteY7" fmla="*/ 142004 h 231272"/>
              <a:gd name="connsiteX8" fmla="*/ 50264 w 222021"/>
              <a:gd name="connsiteY8" fmla="*/ 21095 h 2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021" h="231272">
                <a:moveTo>
                  <a:pt x="50264" y="21095"/>
                </a:moveTo>
                <a:cubicBezTo>
                  <a:pt x="-5241" y="52085"/>
                  <a:pt x="55075" y="101670"/>
                  <a:pt x="76629" y="83354"/>
                </a:cubicBezTo>
                <a:cubicBezTo>
                  <a:pt x="33243" y="43019"/>
                  <a:pt x="108915" y="3"/>
                  <a:pt x="137038" y="60596"/>
                </a:cubicBezTo>
                <a:cubicBezTo>
                  <a:pt x="147121" y="82243"/>
                  <a:pt x="138240" y="107776"/>
                  <a:pt x="116223" y="123502"/>
                </a:cubicBezTo>
                <a:cubicBezTo>
                  <a:pt x="131487" y="145797"/>
                  <a:pt x="131117" y="172810"/>
                  <a:pt x="114281" y="189739"/>
                </a:cubicBezTo>
                <a:cubicBezTo>
                  <a:pt x="67194" y="237011"/>
                  <a:pt x="10763" y="170774"/>
                  <a:pt x="65343" y="147647"/>
                </a:cubicBezTo>
                <a:cubicBezTo>
                  <a:pt x="51374" y="123040"/>
                  <a:pt x="-22263" y="149035"/>
                  <a:pt x="19274" y="197139"/>
                </a:cubicBezTo>
                <a:cubicBezTo>
                  <a:pt x="83105" y="270962"/>
                  <a:pt x="117241" y="200655"/>
                  <a:pt x="221129" y="142004"/>
                </a:cubicBezTo>
                <a:cubicBezTo>
                  <a:pt x="143513" y="51345"/>
                  <a:pt x="135465" y="-26362"/>
                  <a:pt x="50264" y="21095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1" name="Freeform: Shape 740">
            <a:extLst>
              <a:ext uri="{FF2B5EF4-FFF2-40B4-BE49-F238E27FC236}">
                <a16:creationId xmlns="" xmlns:a16="http://schemas.microsoft.com/office/drawing/2014/main" id="{E9AF5155-D758-4582-BE60-2375BA5D998D}"/>
              </a:ext>
            </a:extLst>
          </p:cNvPr>
          <p:cNvSpPr/>
          <p:nvPr/>
        </p:nvSpPr>
        <p:spPr>
          <a:xfrm>
            <a:off x="961751" y="3668017"/>
            <a:ext cx="203520" cy="212771"/>
          </a:xfrm>
          <a:custGeom>
            <a:avLst/>
            <a:gdLst>
              <a:gd name="connsiteX0" fmla="*/ 143639 w 203519"/>
              <a:gd name="connsiteY0" fmla="*/ 7977 h 212770"/>
              <a:gd name="connsiteX1" fmla="*/ 123842 w 203519"/>
              <a:gd name="connsiteY1" fmla="*/ 72548 h 212770"/>
              <a:gd name="connsiteX2" fmla="*/ 184713 w 203519"/>
              <a:gd name="connsiteY2" fmla="*/ 93917 h 212770"/>
              <a:gd name="connsiteX3" fmla="*/ 128282 w 203519"/>
              <a:gd name="connsiteY3" fmla="*/ 128701 h 212770"/>
              <a:gd name="connsiteX4" fmla="*/ 84248 w 203519"/>
              <a:gd name="connsiteY4" fmla="*/ 178193 h 212770"/>
              <a:gd name="connsiteX5" fmla="*/ 73794 w 203519"/>
              <a:gd name="connsiteY5" fmla="*/ 114547 h 212770"/>
              <a:gd name="connsiteX6" fmla="*/ 6725 w 203519"/>
              <a:gd name="connsiteY6" fmla="*/ 122873 h 212770"/>
              <a:gd name="connsiteX7" fmla="*/ 196831 w 203519"/>
              <a:gd name="connsiteY7" fmla="*/ 210386 h 212770"/>
              <a:gd name="connsiteX8" fmla="*/ 143639 w 203519"/>
              <a:gd name="connsiteY8" fmla="*/ 7977 h 212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519" h="212770">
                <a:moveTo>
                  <a:pt x="143639" y="7977"/>
                </a:moveTo>
                <a:cubicBezTo>
                  <a:pt x="81195" y="-3957"/>
                  <a:pt x="95534" y="72825"/>
                  <a:pt x="123842" y="72548"/>
                </a:cubicBezTo>
                <a:cubicBezTo>
                  <a:pt x="116534" y="13804"/>
                  <a:pt x="202104" y="29438"/>
                  <a:pt x="184713" y="93917"/>
                </a:cubicBezTo>
                <a:cubicBezTo>
                  <a:pt x="178515" y="116952"/>
                  <a:pt x="155295" y="130829"/>
                  <a:pt x="128282" y="128701"/>
                </a:cubicBezTo>
                <a:cubicBezTo>
                  <a:pt x="125600" y="155621"/>
                  <a:pt x="108023" y="176065"/>
                  <a:pt x="84248" y="178193"/>
                </a:cubicBezTo>
                <a:cubicBezTo>
                  <a:pt x="17734" y="184114"/>
                  <a:pt x="17179" y="97155"/>
                  <a:pt x="73794" y="114547"/>
                </a:cubicBezTo>
                <a:cubicBezTo>
                  <a:pt x="78975" y="86702"/>
                  <a:pt x="5800" y="59319"/>
                  <a:pt x="6725" y="122873"/>
                </a:cubicBezTo>
                <a:cubicBezTo>
                  <a:pt x="8206" y="220469"/>
                  <a:pt x="79530" y="188554"/>
                  <a:pt x="196831" y="210386"/>
                </a:cubicBezTo>
                <a:cubicBezTo>
                  <a:pt x="195629" y="91049"/>
                  <a:pt x="239478" y="26386"/>
                  <a:pt x="143639" y="7977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2" name="Freeform: Shape 741">
            <a:extLst>
              <a:ext uri="{FF2B5EF4-FFF2-40B4-BE49-F238E27FC236}">
                <a16:creationId xmlns="" xmlns:a16="http://schemas.microsoft.com/office/drawing/2014/main" id="{FFB86E4F-38B6-4E46-81D9-6B81B70FDD01}"/>
              </a:ext>
            </a:extLst>
          </p:cNvPr>
          <p:cNvSpPr/>
          <p:nvPr/>
        </p:nvSpPr>
        <p:spPr>
          <a:xfrm>
            <a:off x="112687" y="3528756"/>
            <a:ext cx="203520" cy="203520"/>
          </a:xfrm>
          <a:custGeom>
            <a:avLst/>
            <a:gdLst>
              <a:gd name="connsiteX0" fmla="*/ 122933 w 203519"/>
              <a:gd name="connsiteY0" fmla="*/ 56117 h 203519"/>
              <a:gd name="connsiteX1" fmla="*/ 128669 w 203519"/>
              <a:gd name="connsiteY1" fmla="*/ 81926 h 203519"/>
              <a:gd name="connsiteX2" fmla="*/ 170298 w 203519"/>
              <a:gd name="connsiteY2" fmla="*/ 98763 h 203519"/>
              <a:gd name="connsiteX3" fmla="*/ 171408 w 203519"/>
              <a:gd name="connsiteY3" fmla="*/ 100243 h 203519"/>
              <a:gd name="connsiteX4" fmla="*/ 179456 w 203519"/>
              <a:gd name="connsiteY4" fmla="*/ 113102 h 203519"/>
              <a:gd name="connsiteX5" fmla="*/ 181861 w 203519"/>
              <a:gd name="connsiteY5" fmla="*/ 121520 h 203519"/>
              <a:gd name="connsiteX6" fmla="*/ 119325 w 203519"/>
              <a:gd name="connsiteY6" fmla="*/ 137524 h 203519"/>
              <a:gd name="connsiteX7" fmla="*/ 133479 w 203519"/>
              <a:gd name="connsiteY7" fmla="*/ 203576 h 203519"/>
              <a:gd name="connsiteX8" fmla="*/ 179734 w 203519"/>
              <a:gd name="connsiteY8" fmla="*/ 188774 h 203519"/>
              <a:gd name="connsiteX9" fmla="*/ 187412 w 203519"/>
              <a:gd name="connsiteY9" fmla="*/ 181559 h 203519"/>
              <a:gd name="connsiteX10" fmla="*/ 193148 w 203519"/>
              <a:gd name="connsiteY10" fmla="*/ 173048 h 203519"/>
              <a:gd name="connsiteX11" fmla="*/ 199901 w 203519"/>
              <a:gd name="connsiteY11" fmla="*/ 152048 h 203519"/>
              <a:gd name="connsiteX12" fmla="*/ 203971 w 203519"/>
              <a:gd name="connsiteY12" fmla="*/ 6717 h 203519"/>
              <a:gd name="connsiteX13" fmla="*/ 152074 w 203519"/>
              <a:gd name="connsiteY13" fmla="*/ 9214 h 203519"/>
              <a:gd name="connsiteX14" fmla="*/ 92128 w 203519"/>
              <a:gd name="connsiteY14" fmla="*/ 8567 h 203519"/>
              <a:gd name="connsiteX15" fmla="*/ 47538 w 203519"/>
              <a:gd name="connsiteY15" fmla="*/ 13562 h 203519"/>
              <a:gd name="connsiteX16" fmla="*/ 25336 w 203519"/>
              <a:gd name="connsiteY16" fmla="*/ 26976 h 203519"/>
              <a:gd name="connsiteX17" fmla="*/ 15993 w 203519"/>
              <a:gd name="connsiteY17" fmla="*/ 41038 h 203519"/>
              <a:gd name="connsiteX18" fmla="*/ 7112 w 203519"/>
              <a:gd name="connsiteY18" fmla="*/ 77301 h 203519"/>
              <a:gd name="connsiteX19" fmla="*/ 73163 w 203519"/>
              <a:gd name="connsiteY19" fmla="*/ 91455 h 203519"/>
              <a:gd name="connsiteX20" fmla="*/ 89167 w 203519"/>
              <a:gd name="connsiteY20" fmla="*/ 28919 h 203519"/>
              <a:gd name="connsiteX21" fmla="*/ 105264 w 203519"/>
              <a:gd name="connsiteY21" fmla="*/ 35209 h 203519"/>
              <a:gd name="connsiteX22" fmla="*/ 122933 w 203519"/>
              <a:gd name="connsiteY22" fmla="*/ 56117 h 203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03519" h="203519">
                <a:moveTo>
                  <a:pt x="122933" y="56117"/>
                </a:moveTo>
                <a:cubicBezTo>
                  <a:pt x="126449" y="63795"/>
                  <a:pt x="128576" y="72491"/>
                  <a:pt x="128669" y="81926"/>
                </a:cubicBezTo>
                <a:cubicBezTo>
                  <a:pt x="145598" y="82112"/>
                  <a:pt x="160492" y="88309"/>
                  <a:pt x="170298" y="98763"/>
                </a:cubicBezTo>
                <a:cubicBezTo>
                  <a:pt x="170760" y="99226"/>
                  <a:pt x="171038" y="99781"/>
                  <a:pt x="171408" y="100243"/>
                </a:cubicBezTo>
                <a:cubicBezTo>
                  <a:pt x="174738" y="104036"/>
                  <a:pt x="177513" y="108384"/>
                  <a:pt x="179456" y="113102"/>
                </a:cubicBezTo>
                <a:cubicBezTo>
                  <a:pt x="180474" y="115785"/>
                  <a:pt x="181306" y="118560"/>
                  <a:pt x="181861" y="121520"/>
                </a:cubicBezTo>
                <a:cubicBezTo>
                  <a:pt x="193610" y="187294"/>
                  <a:pt x="106929" y="195435"/>
                  <a:pt x="119325" y="137524"/>
                </a:cubicBezTo>
                <a:cubicBezTo>
                  <a:pt x="91110" y="134841"/>
                  <a:pt x="70203" y="210051"/>
                  <a:pt x="133479" y="203576"/>
                </a:cubicBezTo>
                <a:cubicBezTo>
                  <a:pt x="154664" y="201355"/>
                  <a:pt x="169465" y="196453"/>
                  <a:pt x="179734" y="188774"/>
                </a:cubicBezTo>
                <a:cubicBezTo>
                  <a:pt x="182694" y="186554"/>
                  <a:pt x="185192" y="184149"/>
                  <a:pt x="187412" y="181559"/>
                </a:cubicBezTo>
                <a:cubicBezTo>
                  <a:pt x="189632" y="178968"/>
                  <a:pt x="191575" y="176101"/>
                  <a:pt x="193148" y="173048"/>
                </a:cubicBezTo>
                <a:cubicBezTo>
                  <a:pt x="196385" y="166942"/>
                  <a:pt x="198513" y="159912"/>
                  <a:pt x="199901" y="152048"/>
                </a:cubicBezTo>
                <a:cubicBezTo>
                  <a:pt x="205729" y="118652"/>
                  <a:pt x="197865" y="69808"/>
                  <a:pt x="203971" y="6717"/>
                </a:cubicBezTo>
                <a:cubicBezTo>
                  <a:pt x="185377" y="8474"/>
                  <a:pt x="168078" y="9122"/>
                  <a:pt x="152074" y="9214"/>
                </a:cubicBezTo>
                <a:cubicBezTo>
                  <a:pt x="129594" y="9307"/>
                  <a:pt x="109612" y="8474"/>
                  <a:pt x="92128" y="8567"/>
                </a:cubicBezTo>
                <a:cubicBezTo>
                  <a:pt x="74643" y="8659"/>
                  <a:pt x="59749" y="9677"/>
                  <a:pt x="47538" y="13562"/>
                </a:cubicBezTo>
                <a:cubicBezTo>
                  <a:pt x="38750" y="16337"/>
                  <a:pt x="31349" y="20593"/>
                  <a:pt x="25336" y="26976"/>
                </a:cubicBezTo>
                <a:cubicBezTo>
                  <a:pt x="21728" y="30861"/>
                  <a:pt x="18583" y="35487"/>
                  <a:pt x="15993" y="41038"/>
                </a:cubicBezTo>
                <a:cubicBezTo>
                  <a:pt x="11645" y="50288"/>
                  <a:pt x="8685" y="62222"/>
                  <a:pt x="7112" y="77301"/>
                </a:cubicBezTo>
                <a:cubicBezTo>
                  <a:pt x="636" y="140577"/>
                  <a:pt x="75939" y="119578"/>
                  <a:pt x="73163" y="91455"/>
                </a:cubicBezTo>
                <a:cubicBezTo>
                  <a:pt x="15253" y="103851"/>
                  <a:pt x="23393" y="17170"/>
                  <a:pt x="89167" y="28919"/>
                </a:cubicBezTo>
                <a:cubicBezTo>
                  <a:pt x="95088" y="29936"/>
                  <a:pt x="100453" y="32157"/>
                  <a:pt x="105264" y="35209"/>
                </a:cubicBezTo>
                <a:cubicBezTo>
                  <a:pt x="112850" y="40020"/>
                  <a:pt x="118863" y="47328"/>
                  <a:pt x="122933" y="56117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3" name="Freeform: Shape 742">
            <a:extLst>
              <a:ext uri="{FF2B5EF4-FFF2-40B4-BE49-F238E27FC236}">
                <a16:creationId xmlns="" xmlns:a16="http://schemas.microsoft.com/office/drawing/2014/main" id="{6AF469CF-8F81-4D1B-BA34-A5388C821722}"/>
              </a:ext>
            </a:extLst>
          </p:cNvPr>
          <p:cNvSpPr/>
          <p:nvPr/>
        </p:nvSpPr>
        <p:spPr>
          <a:xfrm>
            <a:off x="778885" y="3082122"/>
            <a:ext cx="231273" cy="222022"/>
          </a:xfrm>
          <a:custGeom>
            <a:avLst/>
            <a:gdLst>
              <a:gd name="connsiteX0" fmla="*/ 84964 w 231272"/>
              <a:gd name="connsiteY0" fmla="*/ 155934 h 222021"/>
              <a:gd name="connsiteX1" fmla="*/ 57026 w 231272"/>
              <a:gd name="connsiteY1" fmla="*/ 97746 h 222021"/>
              <a:gd name="connsiteX2" fmla="*/ 64982 w 231272"/>
              <a:gd name="connsiteY2" fmla="*/ 94138 h 222021"/>
              <a:gd name="connsiteX3" fmla="*/ 81818 w 231272"/>
              <a:gd name="connsiteY3" fmla="*/ 91917 h 222021"/>
              <a:gd name="connsiteX4" fmla="*/ 83114 w 231272"/>
              <a:gd name="connsiteY4" fmla="*/ 92102 h 222021"/>
              <a:gd name="connsiteX5" fmla="*/ 106888 w 231272"/>
              <a:gd name="connsiteY5" fmla="*/ 100243 h 222021"/>
              <a:gd name="connsiteX6" fmla="*/ 121505 w 231272"/>
              <a:gd name="connsiteY6" fmla="*/ 112917 h 222021"/>
              <a:gd name="connsiteX7" fmla="*/ 164151 w 231272"/>
              <a:gd name="connsiteY7" fmla="*/ 99041 h 222021"/>
              <a:gd name="connsiteX8" fmla="*/ 180341 w 231272"/>
              <a:gd name="connsiteY8" fmla="*/ 104129 h 222021"/>
              <a:gd name="connsiteX9" fmla="*/ 187556 w 231272"/>
              <a:gd name="connsiteY9" fmla="*/ 109032 h 222021"/>
              <a:gd name="connsiteX10" fmla="*/ 149905 w 231272"/>
              <a:gd name="connsiteY10" fmla="*/ 161484 h 222021"/>
              <a:gd name="connsiteX11" fmla="*/ 203190 w 231272"/>
              <a:gd name="connsiteY11" fmla="*/ 203021 h 222021"/>
              <a:gd name="connsiteX12" fmla="*/ 130663 w 231272"/>
              <a:gd name="connsiteY12" fmla="*/ 6717 h 222021"/>
              <a:gd name="connsiteX13" fmla="*/ 25203 w 231272"/>
              <a:gd name="connsiteY13" fmla="*/ 187387 h 222021"/>
              <a:gd name="connsiteX14" fmla="*/ 84964 w 231272"/>
              <a:gd name="connsiteY14" fmla="*/ 155934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1272" h="222021">
                <a:moveTo>
                  <a:pt x="84964" y="155934"/>
                </a:moveTo>
                <a:cubicBezTo>
                  <a:pt x="48515" y="202651"/>
                  <a:pt x="-885" y="131049"/>
                  <a:pt x="57026" y="97746"/>
                </a:cubicBezTo>
                <a:cubicBezTo>
                  <a:pt x="59616" y="96265"/>
                  <a:pt x="62299" y="95063"/>
                  <a:pt x="64982" y="94138"/>
                </a:cubicBezTo>
                <a:cubicBezTo>
                  <a:pt x="70440" y="92288"/>
                  <a:pt x="76175" y="91547"/>
                  <a:pt x="81818" y="91917"/>
                </a:cubicBezTo>
                <a:cubicBezTo>
                  <a:pt x="82281" y="91917"/>
                  <a:pt x="82651" y="92102"/>
                  <a:pt x="83114" y="92102"/>
                </a:cubicBezTo>
                <a:cubicBezTo>
                  <a:pt x="91254" y="92843"/>
                  <a:pt x="99395" y="95525"/>
                  <a:pt x="106888" y="100243"/>
                </a:cubicBezTo>
                <a:cubicBezTo>
                  <a:pt x="112161" y="103574"/>
                  <a:pt x="117064" y="107829"/>
                  <a:pt x="121505" y="112917"/>
                </a:cubicBezTo>
                <a:cubicBezTo>
                  <a:pt x="134549" y="102186"/>
                  <a:pt x="149998" y="97375"/>
                  <a:pt x="164151" y="99041"/>
                </a:cubicBezTo>
                <a:cubicBezTo>
                  <a:pt x="169795" y="99688"/>
                  <a:pt x="175345" y="101353"/>
                  <a:pt x="180341" y="104129"/>
                </a:cubicBezTo>
                <a:cubicBezTo>
                  <a:pt x="182838" y="105516"/>
                  <a:pt x="185336" y="107181"/>
                  <a:pt x="187556" y="109032"/>
                </a:cubicBezTo>
                <a:cubicBezTo>
                  <a:pt x="238806" y="151863"/>
                  <a:pt x="177658" y="213752"/>
                  <a:pt x="149905" y="161484"/>
                </a:cubicBezTo>
                <a:cubicBezTo>
                  <a:pt x="126593" y="177488"/>
                  <a:pt x="158878" y="248628"/>
                  <a:pt x="203190" y="203021"/>
                </a:cubicBezTo>
                <a:cubicBezTo>
                  <a:pt x="271184" y="132991"/>
                  <a:pt x="198195" y="105146"/>
                  <a:pt x="130663" y="6717"/>
                </a:cubicBezTo>
                <a:cubicBezTo>
                  <a:pt x="47128" y="91825"/>
                  <a:pt x="-29655" y="106626"/>
                  <a:pt x="25203" y="187387"/>
                </a:cubicBezTo>
                <a:cubicBezTo>
                  <a:pt x="61004" y="240209"/>
                  <a:pt x="105131" y="175823"/>
                  <a:pt x="84964" y="155934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4" name="Freeform: Shape 743">
            <a:extLst>
              <a:ext uri="{FF2B5EF4-FFF2-40B4-BE49-F238E27FC236}">
                <a16:creationId xmlns="" xmlns:a16="http://schemas.microsoft.com/office/drawing/2014/main" id="{ACED6577-148F-4FF1-993A-85EC818DEF53}"/>
              </a:ext>
            </a:extLst>
          </p:cNvPr>
          <p:cNvSpPr/>
          <p:nvPr/>
        </p:nvSpPr>
        <p:spPr>
          <a:xfrm>
            <a:off x="1049089" y="2359350"/>
            <a:ext cx="212771" cy="222022"/>
          </a:xfrm>
          <a:custGeom>
            <a:avLst/>
            <a:gdLst>
              <a:gd name="connsiteX0" fmla="*/ 7364 w 212770"/>
              <a:gd name="connsiteY0" fmla="*/ 137987 h 222021"/>
              <a:gd name="connsiteX1" fmla="*/ 6717 w 212770"/>
              <a:gd name="connsiteY1" fmla="*/ 150476 h 222021"/>
              <a:gd name="connsiteX2" fmla="*/ 6902 w 212770"/>
              <a:gd name="connsiteY2" fmla="*/ 156304 h 222021"/>
              <a:gd name="connsiteX3" fmla="*/ 8382 w 212770"/>
              <a:gd name="connsiteY3" fmla="*/ 167220 h 222021"/>
              <a:gd name="connsiteX4" fmla="*/ 13933 w 212770"/>
              <a:gd name="connsiteY4" fmla="*/ 181744 h 222021"/>
              <a:gd name="connsiteX5" fmla="*/ 20316 w 212770"/>
              <a:gd name="connsiteY5" fmla="*/ 190255 h 222021"/>
              <a:gd name="connsiteX6" fmla="*/ 63240 w 212770"/>
              <a:gd name="connsiteY6" fmla="*/ 212827 h 222021"/>
              <a:gd name="connsiteX7" fmla="*/ 88587 w 212770"/>
              <a:gd name="connsiteY7" fmla="*/ 150198 h 222021"/>
              <a:gd name="connsiteX8" fmla="*/ 29752 w 212770"/>
              <a:gd name="connsiteY8" fmla="*/ 123648 h 222021"/>
              <a:gd name="connsiteX9" fmla="*/ 38725 w 212770"/>
              <a:gd name="connsiteY9" fmla="*/ 108939 h 222021"/>
              <a:gd name="connsiteX10" fmla="*/ 69623 w 212770"/>
              <a:gd name="connsiteY10" fmla="*/ 93583 h 222021"/>
              <a:gd name="connsiteX11" fmla="*/ 88957 w 212770"/>
              <a:gd name="connsiteY11" fmla="*/ 93953 h 222021"/>
              <a:gd name="connsiteX12" fmla="*/ 120318 w 212770"/>
              <a:gd name="connsiteY12" fmla="*/ 51861 h 222021"/>
              <a:gd name="connsiteX13" fmla="*/ 137247 w 212770"/>
              <a:gd name="connsiteY13" fmla="*/ 48438 h 222021"/>
              <a:gd name="connsiteX14" fmla="*/ 142150 w 212770"/>
              <a:gd name="connsiteY14" fmla="*/ 112825 h 222021"/>
              <a:gd name="connsiteX15" fmla="*/ 209682 w 212770"/>
              <a:gd name="connsiteY15" fmla="*/ 110419 h 222021"/>
              <a:gd name="connsiteX16" fmla="*/ 203113 w 212770"/>
              <a:gd name="connsiteY16" fmla="*/ 62315 h 222021"/>
              <a:gd name="connsiteX17" fmla="*/ 197285 w 212770"/>
              <a:gd name="connsiteY17" fmla="*/ 53434 h 222021"/>
              <a:gd name="connsiteX18" fmla="*/ 193770 w 212770"/>
              <a:gd name="connsiteY18" fmla="*/ 49641 h 222021"/>
              <a:gd name="connsiteX19" fmla="*/ 185537 w 212770"/>
              <a:gd name="connsiteY19" fmla="*/ 43258 h 222021"/>
              <a:gd name="connsiteX20" fmla="*/ 175731 w 212770"/>
              <a:gd name="connsiteY20" fmla="*/ 38170 h 222021"/>
              <a:gd name="connsiteX21" fmla="*/ 170273 w 212770"/>
              <a:gd name="connsiteY21" fmla="*/ 36042 h 222021"/>
              <a:gd name="connsiteX22" fmla="*/ 27901 w 212770"/>
              <a:gd name="connsiteY22" fmla="*/ 6717 h 222021"/>
              <a:gd name="connsiteX23" fmla="*/ 7364 w 212770"/>
              <a:gd name="connsiteY23" fmla="*/ 137987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12770" h="222021">
                <a:moveTo>
                  <a:pt x="7364" y="137987"/>
                </a:moveTo>
                <a:cubicBezTo>
                  <a:pt x="6994" y="142335"/>
                  <a:pt x="6717" y="146498"/>
                  <a:pt x="6717" y="150476"/>
                </a:cubicBezTo>
                <a:cubicBezTo>
                  <a:pt x="6717" y="152511"/>
                  <a:pt x="6809" y="154454"/>
                  <a:pt x="6902" y="156304"/>
                </a:cubicBezTo>
                <a:cubicBezTo>
                  <a:pt x="7087" y="160097"/>
                  <a:pt x="7642" y="163797"/>
                  <a:pt x="8382" y="167220"/>
                </a:cubicBezTo>
                <a:cubicBezTo>
                  <a:pt x="9492" y="172401"/>
                  <a:pt x="11342" y="177303"/>
                  <a:pt x="13933" y="181744"/>
                </a:cubicBezTo>
                <a:cubicBezTo>
                  <a:pt x="15690" y="184704"/>
                  <a:pt x="17725" y="187572"/>
                  <a:pt x="20316" y="190255"/>
                </a:cubicBezTo>
                <a:cubicBezTo>
                  <a:pt x="29104" y="199598"/>
                  <a:pt x="42795" y="207091"/>
                  <a:pt x="63240" y="212827"/>
                </a:cubicBezTo>
                <a:cubicBezTo>
                  <a:pt x="124388" y="230219"/>
                  <a:pt x="116802" y="152419"/>
                  <a:pt x="88587" y="150198"/>
                </a:cubicBezTo>
                <a:cubicBezTo>
                  <a:pt x="90715" y="209404"/>
                  <a:pt x="6809" y="186277"/>
                  <a:pt x="29752" y="123648"/>
                </a:cubicBezTo>
                <a:cubicBezTo>
                  <a:pt x="31787" y="118005"/>
                  <a:pt x="34839" y="113102"/>
                  <a:pt x="38725" y="108939"/>
                </a:cubicBezTo>
                <a:cubicBezTo>
                  <a:pt x="46403" y="100521"/>
                  <a:pt x="57319" y="95248"/>
                  <a:pt x="69623" y="93583"/>
                </a:cubicBezTo>
                <a:cubicBezTo>
                  <a:pt x="75821" y="92750"/>
                  <a:pt x="82297" y="92843"/>
                  <a:pt x="88957" y="93953"/>
                </a:cubicBezTo>
                <a:cubicBezTo>
                  <a:pt x="92658" y="73971"/>
                  <a:pt x="104499" y="58429"/>
                  <a:pt x="120318" y="51861"/>
                </a:cubicBezTo>
                <a:cubicBezTo>
                  <a:pt x="125591" y="49641"/>
                  <a:pt x="131234" y="48531"/>
                  <a:pt x="137247" y="48438"/>
                </a:cubicBezTo>
                <a:cubicBezTo>
                  <a:pt x="204039" y="48346"/>
                  <a:pt x="197008" y="135027"/>
                  <a:pt x="142150" y="112825"/>
                </a:cubicBezTo>
                <a:cubicBezTo>
                  <a:pt x="134564" y="140115"/>
                  <a:pt x="205056" y="173788"/>
                  <a:pt x="209682" y="110419"/>
                </a:cubicBezTo>
                <a:cubicBezTo>
                  <a:pt x="211254" y="89142"/>
                  <a:pt x="208942" y="73693"/>
                  <a:pt x="203113" y="62315"/>
                </a:cubicBezTo>
                <a:cubicBezTo>
                  <a:pt x="201448" y="59077"/>
                  <a:pt x="199506" y="56117"/>
                  <a:pt x="197285" y="53434"/>
                </a:cubicBezTo>
                <a:cubicBezTo>
                  <a:pt x="196175" y="52139"/>
                  <a:pt x="194973" y="50844"/>
                  <a:pt x="193770" y="49641"/>
                </a:cubicBezTo>
                <a:cubicBezTo>
                  <a:pt x="191272" y="47236"/>
                  <a:pt x="188589" y="45108"/>
                  <a:pt x="185537" y="43258"/>
                </a:cubicBezTo>
                <a:cubicBezTo>
                  <a:pt x="182576" y="41315"/>
                  <a:pt x="179246" y="39650"/>
                  <a:pt x="175731" y="38170"/>
                </a:cubicBezTo>
                <a:cubicBezTo>
                  <a:pt x="173973" y="37430"/>
                  <a:pt x="172123" y="36690"/>
                  <a:pt x="170273" y="36042"/>
                </a:cubicBezTo>
                <a:cubicBezTo>
                  <a:pt x="138357" y="24478"/>
                  <a:pt x="88957" y="23739"/>
                  <a:pt x="27901" y="6717"/>
                </a:cubicBezTo>
                <a:cubicBezTo>
                  <a:pt x="23553" y="62407"/>
                  <a:pt x="10417" y="105332"/>
                  <a:pt x="7364" y="137987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5" name="Freeform: Shape 744">
            <a:extLst>
              <a:ext uri="{FF2B5EF4-FFF2-40B4-BE49-F238E27FC236}">
                <a16:creationId xmlns="" xmlns:a16="http://schemas.microsoft.com/office/drawing/2014/main" id="{D6FD3C32-9D5C-4E7B-9D6D-1E1C0BBFB9AF}"/>
              </a:ext>
            </a:extLst>
          </p:cNvPr>
          <p:cNvSpPr/>
          <p:nvPr/>
        </p:nvSpPr>
        <p:spPr>
          <a:xfrm>
            <a:off x="733448" y="1623957"/>
            <a:ext cx="222022" cy="231272"/>
          </a:xfrm>
          <a:custGeom>
            <a:avLst/>
            <a:gdLst>
              <a:gd name="connsiteX0" fmla="*/ 87015 w 222021"/>
              <a:gd name="connsiteY0" fmla="*/ 208702 h 231272"/>
              <a:gd name="connsiteX1" fmla="*/ 95155 w 222021"/>
              <a:gd name="connsiteY1" fmla="*/ 216103 h 231272"/>
              <a:gd name="connsiteX2" fmla="*/ 104036 w 222021"/>
              <a:gd name="connsiteY2" fmla="*/ 221653 h 231272"/>
              <a:gd name="connsiteX3" fmla="*/ 113750 w 222021"/>
              <a:gd name="connsiteY3" fmla="*/ 225169 h 231272"/>
              <a:gd name="connsiteX4" fmla="*/ 166480 w 222021"/>
              <a:gd name="connsiteY4" fmla="*/ 215825 h 231272"/>
              <a:gd name="connsiteX5" fmla="*/ 145665 w 222021"/>
              <a:gd name="connsiteY5" fmla="*/ 151532 h 231272"/>
              <a:gd name="connsiteX6" fmla="*/ 83499 w 222021"/>
              <a:gd name="connsiteY6" fmla="*/ 169016 h 231272"/>
              <a:gd name="connsiteX7" fmla="*/ 80909 w 222021"/>
              <a:gd name="connsiteY7" fmla="*/ 151994 h 231272"/>
              <a:gd name="connsiteX8" fmla="*/ 84887 w 222021"/>
              <a:gd name="connsiteY8" fmla="*/ 135343 h 231272"/>
              <a:gd name="connsiteX9" fmla="*/ 85627 w 222021"/>
              <a:gd name="connsiteY9" fmla="*/ 133955 h 231272"/>
              <a:gd name="connsiteX10" fmla="*/ 89050 w 222021"/>
              <a:gd name="connsiteY10" fmla="*/ 127572 h 231272"/>
              <a:gd name="connsiteX11" fmla="*/ 109679 w 222021"/>
              <a:gd name="connsiteY11" fmla="*/ 108145 h 231272"/>
              <a:gd name="connsiteX12" fmla="*/ 105331 w 222021"/>
              <a:gd name="connsiteY12" fmla="*/ 58930 h 231272"/>
              <a:gd name="connsiteX13" fmla="*/ 111252 w 222021"/>
              <a:gd name="connsiteY13" fmla="*/ 48569 h 231272"/>
              <a:gd name="connsiteX14" fmla="*/ 117358 w 222021"/>
              <a:gd name="connsiteY14" fmla="*/ 42279 h 231272"/>
              <a:gd name="connsiteX15" fmla="*/ 162409 w 222021"/>
              <a:gd name="connsiteY15" fmla="*/ 88441 h 231272"/>
              <a:gd name="connsiteX16" fmla="*/ 212549 w 222021"/>
              <a:gd name="connsiteY16" fmla="*/ 43204 h 231272"/>
              <a:gd name="connsiteX17" fmla="*/ 161392 w 222021"/>
              <a:gd name="connsiteY17" fmla="*/ 6848 h 231272"/>
              <a:gd name="connsiteX18" fmla="*/ 156211 w 222021"/>
              <a:gd name="connsiteY18" fmla="*/ 6755 h 231272"/>
              <a:gd name="connsiteX19" fmla="*/ 145665 w 222021"/>
              <a:gd name="connsiteY19" fmla="*/ 8143 h 231272"/>
              <a:gd name="connsiteX20" fmla="*/ 134657 w 222021"/>
              <a:gd name="connsiteY20" fmla="*/ 11381 h 231272"/>
              <a:gd name="connsiteX21" fmla="*/ 6717 w 222021"/>
              <a:gd name="connsiteY21" fmla="*/ 80485 h 231272"/>
              <a:gd name="connsiteX22" fmla="*/ 11157 w 222021"/>
              <a:gd name="connsiteY22" fmla="*/ 86775 h 231272"/>
              <a:gd name="connsiteX23" fmla="*/ 15043 w 222021"/>
              <a:gd name="connsiteY23" fmla="*/ 92511 h 231272"/>
              <a:gd name="connsiteX24" fmla="*/ 28456 w 222021"/>
              <a:gd name="connsiteY24" fmla="*/ 113603 h 231272"/>
              <a:gd name="connsiteX25" fmla="*/ 30954 w 222021"/>
              <a:gd name="connsiteY25" fmla="*/ 117673 h 231272"/>
              <a:gd name="connsiteX26" fmla="*/ 45200 w 222021"/>
              <a:gd name="connsiteY26" fmla="*/ 142373 h 231272"/>
              <a:gd name="connsiteX27" fmla="*/ 51584 w 222021"/>
              <a:gd name="connsiteY27" fmla="*/ 153937 h 231272"/>
              <a:gd name="connsiteX28" fmla="*/ 57412 w 222021"/>
              <a:gd name="connsiteY28" fmla="*/ 164390 h 231272"/>
              <a:gd name="connsiteX29" fmla="*/ 65737 w 222021"/>
              <a:gd name="connsiteY29" fmla="*/ 179007 h 231272"/>
              <a:gd name="connsiteX30" fmla="*/ 75358 w 222021"/>
              <a:gd name="connsiteY30" fmla="*/ 194271 h 231272"/>
              <a:gd name="connsiteX31" fmla="*/ 79059 w 222021"/>
              <a:gd name="connsiteY31" fmla="*/ 199451 h 231272"/>
              <a:gd name="connsiteX32" fmla="*/ 87015 w 222021"/>
              <a:gd name="connsiteY32" fmla="*/ 208702 h 2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22021" h="231272">
                <a:moveTo>
                  <a:pt x="87015" y="208702"/>
                </a:moveTo>
                <a:cubicBezTo>
                  <a:pt x="89605" y="211477"/>
                  <a:pt x="92380" y="213975"/>
                  <a:pt x="95155" y="216103"/>
                </a:cubicBezTo>
                <a:cubicBezTo>
                  <a:pt x="97931" y="218231"/>
                  <a:pt x="100891" y="220081"/>
                  <a:pt x="104036" y="221653"/>
                </a:cubicBezTo>
                <a:cubicBezTo>
                  <a:pt x="107089" y="223134"/>
                  <a:pt x="110327" y="224336"/>
                  <a:pt x="113750" y="225169"/>
                </a:cubicBezTo>
                <a:cubicBezTo>
                  <a:pt x="127441" y="228407"/>
                  <a:pt x="144278" y="225816"/>
                  <a:pt x="166480" y="215825"/>
                </a:cubicBezTo>
                <a:cubicBezTo>
                  <a:pt x="224483" y="189830"/>
                  <a:pt x="168700" y="135065"/>
                  <a:pt x="145665" y="151532"/>
                </a:cubicBezTo>
                <a:cubicBezTo>
                  <a:pt x="185352" y="195473"/>
                  <a:pt x="106256" y="231737"/>
                  <a:pt x="83499" y="169016"/>
                </a:cubicBezTo>
                <a:cubicBezTo>
                  <a:pt x="81464" y="163373"/>
                  <a:pt x="80631" y="157637"/>
                  <a:pt x="80909" y="151994"/>
                </a:cubicBezTo>
                <a:cubicBezTo>
                  <a:pt x="81186" y="146351"/>
                  <a:pt x="82482" y="140708"/>
                  <a:pt x="84887" y="135343"/>
                </a:cubicBezTo>
                <a:cubicBezTo>
                  <a:pt x="85072" y="134880"/>
                  <a:pt x="85442" y="134418"/>
                  <a:pt x="85627" y="133955"/>
                </a:cubicBezTo>
                <a:cubicBezTo>
                  <a:pt x="86645" y="131827"/>
                  <a:pt x="87755" y="129607"/>
                  <a:pt x="89050" y="127572"/>
                </a:cubicBezTo>
                <a:cubicBezTo>
                  <a:pt x="93953" y="120079"/>
                  <a:pt x="100983" y="113326"/>
                  <a:pt x="109679" y="108145"/>
                </a:cubicBezTo>
                <a:cubicBezTo>
                  <a:pt x="100428" y="91678"/>
                  <a:pt x="99133" y="73639"/>
                  <a:pt x="105331" y="58930"/>
                </a:cubicBezTo>
                <a:cubicBezTo>
                  <a:pt x="106904" y="55230"/>
                  <a:pt x="108754" y="51714"/>
                  <a:pt x="111252" y="48569"/>
                </a:cubicBezTo>
                <a:cubicBezTo>
                  <a:pt x="113010" y="46349"/>
                  <a:pt x="115045" y="44221"/>
                  <a:pt x="117358" y="42279"/>
                </a:cubicBezTo>
                <a:cubicBezTo>
                  <a:pt x="168422" y="-738"/>
                  <a:pt x="218840" y="70216"/>
                  <a:pt x="162409" y="88441"/>
                </a:cubicBezTo>
                <a:cubicBezTo>
                  <a:pt x="174158" y="114158"/>
                  <a:pt x="249830" y="94731"/>
                  <a:pt x="212549" y="43204"/>
                </a:cubicBezTo>
                <a:cubicBezTo>
                  <a:pt x="194695" y="18504"/>
                  <a:pt x="178506" y="8050"/>
                  <a:pt x="161392" y="6848"/>
                </a:cubicBezTo>
                <a:cubicBezTo>
                  <a:pt x="159634" y="6755"/>
                  <a:pt x="157969" y="6663"/>
                  <a:pt x="156211" y="6755"/>
                </a:cubicBezTo>
                <a:cubicBezTo>
                  <a:pt x="152696" y="6848"/>
                  <a:pt x="149181" y="7403"/>
                  <a:pt x="145665" y="8143"/>
                </a:cubicBezTo>
                <a:cubicBezTo>
                  <a:pt x="142057" y="8975"/>
                  <a:pt x="138450" y="9993"/>
                  <a:pt x="134657" y="11381"/>
                </a:cubicBezTo>
                <a:cubicBezTo>
                  <a:pt x="102834" y="23037"/>
                  <a:pt x="64442" y="54212"/>
                  <a:pt x="6717" y="80485"/>
                </a:cubicBezTo>
                <a:cubicBezTo>
                  <a:pt x="8197" y="82612"/>
                  <a:pt x="9677" y="84740"/>
                  <a:pt x="11157" y="86775"/>
                </a:cubicBezTo>
                <a:cubicBezTo>
                  <a:pt x="12452" y="88718"/>
                  <a:pt x="13747" y="90568"/>
                  <a:pt x="15043" y="92511"/>
                </a:cubicBezTo>
                <a:cubicBezTo>
                  <a:pt x="19853" y="99634"/>
                  <a:pt x="24293" y="106757"/>
                  <a:pt x="28456" y="113603"/>
                </a:cubicBezTo>
                <a:cubicBezTo>
                  <a:pt x="29289" y="114991"/>
                  <a:pt x="30122" y="116286"/>
                  <a:pt x="30954" y="117673"/>
                </a:cubicBezTo>
                <a:cubicBezTo>
                  <a:pt x="36042" y="126277"/>
                  <a:pt x="40760" y="134510"/>
                  <a:pt x="45200" y="142373"/>
                </a:cubicBezTo>
                <a:cubicBezTo>
                  <a:pt x="47421" y="146351"/>
                  <a:pt x="49548" y="150144"/>
                  <a:pt x="51584" y="153937"/>
                </a:cubicBezTo>
                <a:cubicBezTo>
                  <a:pt x="53526" y="157545"/>
                  <a:pt x="55469" y="161060"/>
                  <a:pt x="57412" y="164390"/>
                </a:cubicBezTo>
                <a:cubicBezTo>
                  <a:pt x="60279" y="169478"/>
                  <a:pt x="63055" y="174381"/>
                  <a:pt x="65737" y="179007"/>
                </a:cubicBezTo>
                <a:cubicBezTo>
                  <a:pt x="68975" y="184465"/>
                  <a:pt x="72213" y="189645"/>
                  <a:pt x="75358" y="194271"/>
                </a:cubicBezTo>
                <a:cubicBezTo>
                  <a:pt x="76561" y="196028"/>
                  <a:pt x="77856" y="197786"/>
                  <a:pt x="79059" y="199451"/>
                </a:cubicBezTo>
                <a:cubicBezTo>
                  <a:pt x="81834" y="202874"/>
                  <a:pt x="84424" y="205927"/>
                  <a:pt x="87015" y="208702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6" name="Freeform: Shape 745">
            <a:extLst>
              <a:ext uri="{FF2B5EF4-FFF2-40B4-BE49-F238E27FC236}">
                <a16:creationId xmlns="" xmlns:a16="http://schemas.microsoft.com/office/drawing/2014/main" id="{CB6707CA-947E-4924-B4D9-6536611199B5}"/>
              </a:ext>
            </a:extLst>
          </p:cNvPr>
          <p:cNvSpPr/>
          <p:nvPr/>
        </p:nvSpPr>
        <p:spPr>
          <a:xfrm>
            <a:off x="50639" y="1242305"/>
            <a:ext cx="222022" cy="222022"/>
          </a:xfrm>
          <a:custGeom>
            <a:avLst/>
            <a:gdLst>
              <a:gd name="connsiteX0" fmla="*/ 158617 w 222021"/>
              <a:gd name="connsiteY0" fmla="*/ 137060 h 222021"/>
              <a:gd name="connsiteX1" fmla="*/ 122261 w 222021"/>
              <a:gd name="connsiteY1" fmla="*/ 190345 h 222021"/>
              <a:gd name="connsiteX2" fmla="*/ 109309 w 222021"/>
              <a:gd name="connsiteY2" fmla="*/ 178967 h 222021"/>
              <a:gd name="connsiteX3" fmla="*/ 99503 w 222021"/>
              <a:gd name="connsiteY3" fmla="*/ 145849 h 222021"/>
              <a:gd name="connsiteX4" fmla="*/ 103204 w 222021"/>
              <a:gd name="connsiteY4" fmla="*/ 126884 h 222021"/>
              <a:gd name="connsiteX5" fmla="*/ 67218 w 222021"/>
              <a:gd name="connsiteY5" fmla="*/ 88770 h 222021"/>
              <a:gd name="connsiteX6" fmla="*/ 66848 w 222021"/>
              <a:gd name="connsiteY6" fmla="*/ 71564 h 222021"/>
              <a:gd name="connsiteX7" fmla="*/ 131049 w 222021"/>
              <a:gd name="connsiteY7" fmla="*/ 77947 h 222021"/>
              <a:gd name="connsiteX8" fmla="*/ 140392 w 222021"/>
              <a:gd name="connsiteY8" fmla="*/ 11063 h 222021"/>
              <a:gd name="connsiteX9" fmla="*/ 91918 w 222021"/>
              <a:gd name="connsiteY9" fmla="*/ 9213 h 222021"/>
              <a:gd name="connsiteX10" fmla="*/ 77856 w 222021"/>
              <a:gd name="connsiteY10" fmla="*/ 16151 h 222021"/>
              <a:gd name="connsiteX11" fmla="*/ 70085 w 222021"/>
              <a:gd name="connsiteY11" fmla="*/ 23089 h 222021"/>
              <a:gd name="connsiteX12" fmla="*/ 63332 w 222021"/>
              <a:gd name="connsiteY12" fmla="*/ 31785 h 222021"/>
              <a:gd name="connsiteX13" fmla="*/ 6717 w 222021"/>
              <a:gd name="connsiteY13" fmla="*/ 171936 h 222021"/>
              <a:gd name="connsiteX14" fmla="*/ 68143 w 222021"/>
              <a:gd name="connsiteY14" fmla="*/ 191733 h 222021"/>
              <a:gd name="connsiteX15" fmla="*/ 78966 w 222021"/>
              <a:gd name="connsiteY15" fmla="*/ 195803 h 222021"/>
              <a:gd name="connsiteX16" fmla="*/ 116062 w 222021"/>
              <a:gd name="connsiteY16" fmla="*/ 209772 h 222021"/>
              <a:gd name="connsiteX17" fmla="*/ 123926 w 222021"/>
              <a:gd name="connsiteY17" fmla="*/ 212363 h 222021"/>
              <a:gd name="connsiteX18" fmla="*/ 127996 w 222021"/>
              <a:gd name="connsiteY18" fmla="*/ 213658 h 222021"/>
              <a:gd name="connsiteX19" fmla="*/ 138727 w 222021"/>
              <a:gd name="connsiteY19" fmla="*/ 216525 h 222021"/>
              <a:gd name="connsiteX20" fmla="*/ 150476 w 222021"/>
              <a:gd name="connsiteY20" fmla="*/ 218653 h 222021"/>
              <a:gd name="connsiteX21" fmla="*/ 215880 w 222021"/>
              <a:gd name="connsiteY21" fmla="*/ 172954 h 222021"/>
              <a:gd name="connsiteX22" fmla="*/ 158617 w 222021"/>
              <a:gd name="connsiteY22" fmla="*/ 137060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22021" h="222021">
                <a:moveTo>
                  <a:pt x="158617" y="137060"/>
                </a:moveTo>
                <a:cubicBezTo>
                  <a:pt x="217267" y="145201"/>
                  <a:pt x="179986" y="223834"/>
                  <a:pt x="122261" y="190345"/>
                </a:cubicBezTo>
                <a:cubicBezTo>
                  <a:pt x="117080" y="187385"/>
                  <a:pt x="112732" y="183500"/>
                  <a:pt x="109309" y="178967"/>
                </a:cubicBezTo>
                <a:cubicBezTo>
                  <a:pt x="102371" y="169901"/>
                  <a:pt x="99041" y="158337"/>
                  <a:pt x="99503" y="145849"/>
                </a:cubicBezTo>
                <a:cubicBezTo>
                  <a:pt x="99781" y="139650"/>
                  <a:pt x="100983" y="133267"/>
                  <a:pt x="103204" y="126884"/>
                </a:cubicBezTo>
                <a:cubicBezTo>
                  <a:pt x="84239" y="119761"/>
                  <a:pt x="70918" y="105422"/>
                  <a:pt x="67218" y="88770"/>
                </a:cubicBezTo>
                <a:cubicBezTo>
                  <a:pt x="66015" y="83220"/>
                  <a:pt x="65830" y="77392"/>
                  <a:pt x="66848" y="71564"/>
                </a:cubicBezTo>
                <a:cubicBezTo>
                  <a:pt x="78319" y="5790"/>
                  <a:pt x="162502" y="27714"/>
                  <a:pt x="131049" y="77947"/>
                </a:cubicBezTo>
                <a:cubicBezTo>
                  <a:pt x="156581" y="90158"/>
                  <a:pt x="202003" y="26604"/>
                  <a:pt x="140392" y="11063"/>
                </a:cubicBezTo>
                <a:cubicBezTo>
                  <a:pt x="119670" y="5882"/>
                  <a:pt x="104129" y="5420"/>
                  <a:pt x="91918" y="9213"/>
                </a:cubicBezTo>
                <a:cubicBezTo>
                  <a:pt x="86645" y="10785"/>
                  <a:pt x="82019" y="13191"/>
                  <a:pt x="77856" y="16151"/>
                </a:cubicBezTo>
                <a:cubicBezTo>
                  <a:pt x="75081" y="18186"/>
                  <a:pt x="72491" y="20499"/>
                  <a:pt x="70085" y="23089"/>
                </a:cubicBezTo>
                <a:cubicBezTo>
                  <a:pt x="67680" y="25679"/>
                  <a:pt x="65460" y="28640"/>
                  <a:pt x="63332" y="31785"/>
                </a:cubicBezTo>
                <a:cubicBezTo>
                  <a:pt x="44368" y="60463"/>
                  <a:pt x="35580" y="111435"/>
                  <a:pt x="6717" y="171936"/>
                </a:cubicBezTo>
                <a:cubicBezTo>
                  <a:pt x="29566" y="177857"/>
                  <a:pt x="49918" y="184887"/>
                  <a:pt x="68143" y="191733"/>
                </a:cubicBezTo>
                <a:cubicBezTo>
                  <a:pt x="71843" y="193121"/>
                  <a:pt x="75451" y="194508"/>
                  <a:pt x="78966" y="195803"/>
                </a:cubicBezTo>
                <a:cubicBezTo>
                  <a:pt x="92473" y="200984"/>
                  <a:pt x="104776" y="205794"/>
                  <a:pt x="116062" y="209772"/>
                </a:cubicBezTo>
                <a:cubicBezTo>
                  <a:pt x="118745" y="210697"/>
                  <a:pt x="121335" y="211622"/>
                  <a:pt x="123926" y="212363"/>
                </a:cubicBezTo>
                <a:cubicBezTo>
                  <a:pt x="125313" y="212825"/>
                  <a:pt x="126608" y="213195"/>
                  <a:pt x="127996" y="213658"/>
                </a:cubicBezTo>
                <a:cubicBezTo>
                  <a:pt x="131696" y="214768"/>
                  <a:pt x="135304" y="215785"/>
                  <a:pt x="138727" y="216525"/>
                </a:cubicBezTo>
                <a:cubicBezTo>
                  <a:pt x="142798" y="217451"/>
                  <a:pt x="146683" y="218190"/>
                  <a:pt x="150476" y="218653"/>
                </a:cubicBezTo>
                <a:cubicBezTo>
                  <a:pt x="177026" y="221706"/>
                  <a:pt x="197285" y="211437"/>
                  <a:pt x="215880" y="172954"/>
                </a:cubicBezTo>
                <a:cubicBezTo>
                  <a:pt x="243632" y="115691"/>
                  <a:pt x="165740" y="109585"/>
                  <a:pt x="158617" y="137060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7" name="Freeform: Shape 746">
            <a:extLst>
              <a:ext uri="{FF2B5EF4-FFF2-40B4-BE49-F238E27FC236}">
                <a16:creationId xmlns="" xmlns:a16="http://schemas.microsoft.com/office/drawing/2014/main" id="{1BA0DDE7-0B6D-4A8D-AD8D-9C86F4CDBEFE}"/>
              </a:ext>
            </a:extLst>
          </p:cNvPr>
          <p:cNvSpPr/>
          <p:nvPr/>
        </p:nvSpPr>
        <p:spPr>
          <a:xfrm>
            <a:off x="417715" y="3389715"/>
            <a:ext cx="222022" cy="231272"/>
          </a:xfrm>
          <a:custGeom>
            <a:avLst/>
            <a:gdLst>
              <a:gd name="connsiteX0" fmla="*/ 112547 w 222021"/>
              <a:gd name="connsiteY0" fmla="*/ 221985 h 231272"/>
              <a:gd name="connsiteX1" fmla="*/ 187479 w 222021"/>
              <a:gd name="connsiteY1" fmla="*/ 211994 h 231272"/>
              <a:gd name="connsiteX2" fmla="*/ 155841 w 222021"/>
              <a:gd name="connsiteY2" fmla="*/ 152326 h 231272"/>
              <a:gd name="connsiteX3" fmla="*/ 97653 w 222021"/>
              <a:gd name="connsiteY3" fmla="*/ 180263 h 231272"/>
              <a:gd name="connsiteX4" fmla="*/ 92103 w 222021"/>
              <a:gd name="connsiteY4" fmla="*/ 163889 h 231272"/>
              <a:gd name="connsiteX5" fmla="*/ 91825 w 222021"/>
              <a:gd name="connsiteY5" fmla="*/ 155378 h 231272"/>
              <a:gd name="connsiteX6" fmla="*/ 112917 w 222021"/>
              <a:gd name="connsiteY6" fmla="*/ 115785 h 231272"/>
              <a:gd name="connsiteX7" fmla="*/ 100428 w 222021"/>
              <a:gd name="connsiteY7" fmla="*/ 91547 h 231272"/>
              <a:gd name="connsiteX8" fmla="*/ 100798 w 222021"/>
              <a:gd name="connsiteY8" fmla="*/ 64720 h 231272"/>
              <a:gd name="connsiteX9" fmla="*/ 109124 w 222021"/>
              <a:gd name="connsiteY9" fmla="*/ 49548 h 231272"/>
              <a:gd name="connsiteX10" fmla="*/ 161577 w 222021"/>
              <a:gd name="connsiteY10" fmla="*/ 87199 h 231272"/>
              <a:gd name="connsiteX11" fmla="*/ 203113 w 222021"/>
              <a:gd name="connsiteY11" fmla="*/ 33914 h 231272"/>
              <a:gd name="connsiteX12" fmla="*/ 151493 w 222021"/>
              <a:gd name="connsiteY12" fmla="*/ 6717 h 231272"/>
              <a:gd name="connsiteX13" fmla="*/ 136137 w 222021"/>
              <a:gd name="connsiteY13" fmla="*/ 9122 h 231272"/>
              <a:gd name="connsiteX14" fmla="*/ 125961 w 222021"/>
              <a:gd name="connsiteY14" fmla="*/ 13285 h 231272"/>
              <a:gd name="connsiteX15" fmla="*/ 115600 w 222021"/>
              <a:gd name="connsiteY15" fmla="*/ 19298 h 231272"/>
              <a:gd name="connsiteX16" fmla="*/ 110327 w 222021"/>
              <a:gd name="connsiteY16" fmla="*/ 22906 h 231272"/>
              <a:gd name="connsiteX17" fmla="*/ 103389 w 222021"/>
              <a:gd name="connsiteY17" fmla="*/ 28086 h 231272"/>
              <a:gd name="connsiteX18" fmla="*/ 94970 w 222021"/>
              <a:gd name="connsiteY18" fmla="*/ 34747 h 231272"/>
              <a:gd name="connsiteX19" fmla="*/ 78041 w 222021"/>
              <a:gd name="connsiteY19" fmla="*/ 49178 h 231272"/>
              <a:gd name="connsiteX20" fmla="*/ 70733 w 222021"/>
              <a:gd name="connsiteY20" fmla="*/ 55561 h 231272"/>
              <a:gd name="connsiteX21" fmla="*/ 60002 w 222021"/>
              <a:gd name="connsiteY21" fmla="*/ 64812 h 231272"/>
              <a:gd name="connsiteX22" fmla="*/ 24386 w 222021"/>
              <a:gd name="connsiteY22" fmla="*/ 93675 h 231272"/>
              <a:gd name="connsiteX23" fmla="*/ 6717 w 222021"/>
              <a:gd name="connsiteY23" fmla="*/ 106349 h 231272"/>
              <a:gd name="connsiteX24" fmla="*/ 112547 w 222021"/>
              <a:gd name="connsiteY24" fmla="*/ 221985 h 2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22021" h="231272">
                <a:moveTo>
                  <a:pt x="112547" y="221985"/>
                </a:moveTo>
                <a:cubicBezTo>
                  <a:pt x="132714" y="234751"/>
                  <a:pt x="154639" y="234196"/>
                  <a:pt x="187479" y="211994"/>
                </a:cubicBezTo>
                <a:cubicBezTo>
                  <a:pt x="240117" y="176286"/>
                  <a:pt x="175638" y="132066"/>
                  <a:pt x="155841" y="152326"/>
                </a:cubicBezTo>
                <a:cubicBezTo>
                  <a:pt x="202558" y="188774"/>
                  <a:pt x="130956" y="238174"/>
                  <a:pt x="97653" y="180263"/>
                </a:cubicBezTo>
                <a:cubicBezTo>
                  <a:pt x="94693" y="175083"/>
                  <a:pt x="92843" y="169532"/>
                  <a:pt x="92103" y="163889"/>
                </a:cubicBezTo>
                <a:cubicBezTo>
                  <a:pt x="91733" y="161114"/>
                  <a:pt x="91640" y="158246"/>
                  <a:pt x="91825" y="155378"/>
                </a:cubicBezTo>
                <a:cubicBezTo>
                  <a:pt x="92658" y="141132"/>
                  <a:pt x="100058" y="126793"/>
                  <a:pt x="112917" y="115785"/>
                </a:cubicBezTo>
                <a:cubicBezTo>
                  <a:pt x="106719" y="108291"/>
                  <a:pt x="102649" y="99966"/>
                  <a:pt x="100428" y="91547"/>
                </a:cubicBezTo>
                <a:cubicBezTo>
                  <a:pt x="98116" y="82389"/>
                  <a:pt x="98116" y="73230"/>
                  <a:pt x="100798" y="64720"/>
                </a:cubicBezTo>
                <a:cubicBezTo>
                  <a:pt x="102464" y="59262"/>
                  <a:pt x="105239" y="54174"/>
                  <a:pt x="109124" y="49548"/>
                </a:cubicBezTo>
                <a:cubicBezTo>
                  <a:pt x="151956" y="-1702"/>
                  <a:pt x="213844" y="59447"/>
                  <a:pt x="161577" y="87199"/>
                </a:cubicBezTo>
                <a:cubicBezTo>
                  <a:pt x="177581" y="110512"/>
                  <a:pt x="248720" y="78226"/>
                  <a:pt x="203113" y="33914"/>
                </a:cubicBezTo>
                <a:cubicBezTo>
                  <a:pt x="183409" y="14765"/>
                  <a:pt x="167035" y="6809"/>
                  <a:pt x="151493" y="6717"/>
                </a:cubicBezTo>
                <a:cubicBezTo>
                  <a:pt x="146313" y="6717"/>
                  <a:pt x="141225" y="7549"/>
                  <a:pt x="136137" y="9122"/>
                </a:cubicBezTo>
                <a:cubicBezTo>
                  <a:pt x="132714" y="10232"/>
                  <a:pt x="129384" y="11620"/>
                  <a:pt x="125961" y="13285"/>
                </a:cubicBezTo>
                <a:cubicBezTo>
                  <a:pt x="122538" y="14950"/>
                  <a:pt x="119115" y="16985"/>
                  <a:pt x="115600" y="19298"/>
                </a:cubicBezTo>
                <a:cubicBezTo>
                  <a:pt x="113842" y="20408"/>
                  <a:pt x="112085" y="21611"/>
                  <a:pt x="110327" y="22906"/>
                </a:cubicBezTo>
                <a:cubicBezTo>
                  <a:pt x="108014" y="24478"/>
                  <a:pt x="105701" y="26236"/>
                  <a:pt x="103389" y="28086"/>
                </a:cubicBezTo>
                <a:cubicBezTo>
                  <a:pt x="100613" y="30214"/>
                  <a:pt x="97838" y="32434"/>
                  <a:pt x="94970" y="34747"/>
                </a:cubicBezTo>
                <a:cubicBezTo>
                  <a:pt x="89605" y="39187"/>
                  <a:pt x="83962" y="43998"/>
                  <a:pt x="78041" y="49178"/>
                </a:cubicBezTo>
                <a:cubicBezTo>
                  <a:pt x="75636" y="51214"/>
                  <a:pt x="73231" y="53341"/>
                  <a:pt x="70733" y="55561"/>
                </a:cubicBezTo>
                <a:cubicBezTo>
                  <a:pt x="67310" y="58614"/>
                  <a:pt x="63702" y="61667"/>
                  <a:pt x="60002" y="64812"/>
                </a:cubicBezTo>
                <a:cubicBezTo>
                  <a:pt x="49271" y="74063"/>
                  <a:pt x="37522" y="83777"/>
                  <a:pt x="24386" y="93675"/>
                </a:cubicBezTo>
                <a:cubicBezTo>
                  <a:pt x="18743" y="97930"/>
                  <a:pt x="12915" y="102186"/>
                  <a:pt x="6717" y="106349"/>
                </a:cubicBezTo>
                <a:cubicBezTo>
                  <a:pt x="57319" y="156119"/>
                  <a:pt x="83037" y="203298"/>
                  <a:pt x="112547" y="221985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8" name="Freeform: Shape 747">
            <a:extLst>
              <a:ext uri="{FF2B5EF4-FFF2-40B4-BE49-F238E27FC236}">
                <a16:creationId xmlns="" xmlns:a16="http://schemas.microsoft.com/office/drawing/2014/main" id="{D5FBA843-566E-406A-9AC7-77F5B4036017}"/>
              </a:ext>
            </a:extLst>
          </p:cNvPr>
          <p:cNvSpPr/>
          <p:nvPr/>
        </p:nvSpPr>
        <p:spPr>
          <a:xfrm>
            <a:off x="960280" y="2800898"/>
            <a:ext cx="222022" cy="212771"/>
          </a:xfrm>
          <a:custGeom>
            <a:avLst/>
            <a:gdLst>
              <a:gd name="connsiteX0" fmla="*/ 177303 w 222021"/>
              <a:gd name="connsiteY0" fmla="*/ 205238 h 212770"/>
              <a:gd name="connsiteX1" fmla="*/ 213012 w 222021"/>
              <a:gd name="connsiteY1" fmla="*/ 153618 h 212770"/>
              <a:gd name="connsiteX2" fmla="*/ 150383 w 222021"/>
              <a:gd name="connsiteY2" fmla="*/ 128270 h 212770"/>
              <a:gd name="connsiteX3" fmla="*/ 123833 w 222021"/>
              <a:gd name="connsiteY3" fmla="*/ 187106 h 212770"/>
              <a:gd name="connsiteX4" fmla="*/ 109124 w 222021"/>
              <a:gd name="connsiteY4" fmla="*/ 178133 h 212770"/>
              <a:gd name="connsiteX5" fmla="*/ 94045 w 222021"/>
              <a:gd name="connsiteY5" fmla="*/ 127900 h 212770"/>
              <a:gd name="connsiteX6" fmla="*/ 75728 w 222021"/>
              <a:gd name="connsiteY6" fmla="*/ 121610 h 212770"/>
              <a:gd name="connsiteX7" fmla="*/ 51954 w 222021"/>
              <a:gd name="connsiteY7" fmla="*/ 96540 h 212770"/>
              <a:gd name="connsiteX8" fmla="*/ 48531 w 222021"/>
              <a:gd name="connsiteY8" fmla="*/ 79611 h 212770"/>
              <a:gd name="connsiteX9" fmla="*/ 112917 w 222021"/>
              <a:gd name="connsiteY9" fmla="*/ 74708 h 212770"/>
              <a:gd name="connsiteX10" fmla="*/ 110512 w 222021"/>
              <a:gd name="connsiteY10" fmla="*/ 7176 h 212770"/>
              <a:gd name="connsiteX11" fmla="*/ 93675 w 222021"/>
              <a:gd name="connsiteY11" fmla="*/ 6806 h 212770"/>
              <a:gd name="connsiteX12" fmla="*/ 79429 w 222021"/>
              <a:gd name="connsiteY12" fmla="*/ 8286 h 212770"/>
              <a:gd name="connsiteX13" fmla="*/ 62407 w 222021"/>
              <a:gd name="connsiteY13" fmla="*/ 13744 h 212770"/>
              <a:gd name="connsiteX14" fmla="*/ 53526 w 222021"/>
              <a:gd name="connsiteY14" fmla="*/ 19572 h 212770"/>
              <a:gd name="connsiteX15" fmla="*/ 49733 w 222021"/>
              <a:gd name="connsiteY15" fmla="*/ 23088 h 212770"/>
              <a:gd name="connsiteX16" fmla="*/ 43350 w 222021"/>
              <a:gd name="connsiteY16" fmla="*/ 31321 h 212770"/>
              <a:gd name="connsiteX17" fmla="*/ 36042 w 222021"/>
              <a:gd name="connsiteY17" fmla="*/ 46492 h 212770"/>
              <a:gd name="connsiteX18" fmla="*/ 30769 w 222021"/>
              <a:gd name="connsiteY18" fmla="*/ 64994 h 212770"/>
              <a:gd name="connsiteX19" fmla="*/ 6717 w 222021"/>
              <a:gd name="connsiteY19" fmla="*/ 188956 h 212770"/>
              <a:gd name="connsiteX20" fmla="*/ 177303 w 222021"/>
              <a:gd name="connsiteY20" fmla="*/ 205238 h 212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22021" h="212770">
                <a:moveTo>
                  <a:pt x="177303" y="205238"/>
                </a:moveTo>
                <a:cubicBezTo>
                  <a:pt x="193030" y="198300"/>
                  <a:pt x="204686" y="182943"/>
                  <a:pt x="213012" y="153618"/>
                </a:cubicBezTo>
                <a:cubicBezTo>
                  <a:pt x="230404" y="92469"/>
                  <a:pt x="152603" y="100055"/>
                  <a:pt x="150383" y="128270"/>
                </a:cubicBezTo>
                <a:cubicBezTo>
                  <a:pt x="209589" y="126143"/>
                  <a:pt x="186462" y="210048"/>
                  <a:pt x="123833" y="187106"/>
                </a:cubicBezTo>
                <a:cubicBezTo>
                  <a:pt x="118190" y="185071"/>
                  <a:pt x="113287" y="182018"/>
                  <a:pt x="109124" y="178133"/>
                </a:cubicBezTo>
                <a:cubicBezTo>
                  <a:pt x="96543" y="166569"/>
                  <a:pt x="90807" y="147882"/>
                  <a:pt x="94045" y="127900"/>
                </a:cubicBezTo>
                <a:cubicBezTo>
                  <a:pt x="87385" y="126698"/>
                  <a:pt x="81279" y="124478"/>
                  <a:pt x="75728" y="121610"/>
                </a:cubicBezTo>
                <a:cubicBezTo>
                  <a:pt x="64720" y="115874"/>
                  <a:pt x="56302" y="107086"/>
                  <a:pt x="51954" y="96540"/>
                </a:cubicBezTo>
                <a:cubicBezTo>
                  <a:pt x="49733" y="91267"/>
                  <a:pt x="48623" y="85624"/>
                  <a:pt x="48531" y="79611"/>
                </a:cubicBezTo>
                <a:cubicBezTo>
                  <a:pt x="48438" y="12819"/>
                  <a:pt x="135119" y="19850"/>
                  <a:pt x="112917" y="74708"/>
                </a:cubicBezTo>
                <a:cubicBezTo>
                  <a:pt x="140207" y="82293"/>
                  <a:pt x="173881" y="11802"/>
                  <a:pt x="110512" y="7176"/>
                </a:cubicBezTo>
                <a:cubicBezTo>
                  <a:pt x="104406" y="6713"/>
                  <a:pt x="98856" y="6621"/>
                  <a:pt x="93675" y="6806"/>
                </a:cubicBezTo>
                <a:cubicBezTo>
                  <a:pt x="88495" y="6991"/>
                  <a:pt x="83777" y="7454"/>
                  <a:pt x="79429" y="8286"/>
                </a:cubicBezTo>
                <a:cubicBezTo>
                  <a:pt x="72953" y="9489"/>
                  <a:pt x="67310" y="11339"/>
                  <a:pt x="62407" y="13744"/>
                </a:cubicBezTo>
                <a:cubicBezTo>
                  <a:pt x="59169" y="15409"/>
                  <a:pt x="56209" y="17352"/>
                  <a:pt x="53526" y="19572"/>
                </a:cubicBezTo>
                <a:cubicBezTo>
                  <a:pt x="52231" y="20682"/>
                  <a:pt x="50936" y="21885"/>
                  <a:pt x="49733" y="23088"/>
                </a:cubicBezTo>
                <a:cubicBezTo>
                  <a:pt x="47328" y="25585"/>
                  <a:pt x="45201" y="28268"/>
                  <a:pt x="43350" y="31321"/>
                </a:cubicBezTo>
                <a:cubicBezTo>
                  <a:pt x="40483" y="35854"/>
                  <a:pt x="38077" y="40942"/>
                  <a:pt x="36042" y="46492"/>
                </a:cubicBezTo>
                <a:cubicBezTo>
                  <a:pt x="34007" y="52043"/>
                  <a:pt x="32342" y="58334"/>
                  <a:pt x="30769" y="64994"/>
                </a:cubicBezTo>
                <a:cubicBezTo>
                  <a:pt x="23738" y="96170"/>
                  <a:pt x="20686" y="138631"/>
                  <a:pt x="6717" y="188956"/>
                </a:cubicBezTo>
                <a:cubicBezTo>
                  <a:pt x="88495" y="195247"/>
                  <a:pt x="142705" y="220502"/>
                  <a:pt x="177303" y="205238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49" name="Freeform: Shape 748">
            <a:extLst>
              <a:ext uri="{FF2B5EF4-FFF2-40B4-BE49-F238E27FC236}">
                <a16:creationId xmlns="" xmlns:a16="http://schemas.microsoft.com/office/drawing/2014/main" id="{072CDD39-3651-4206-89E0-50B3232E4AEF}"/>
              </a:ext>
            </a:extLst>
          </p:cNvPr>
          <p:cNvSpPr/>
          <p:nvPr/>
        </p:nvSpPr>
        <p:spPr>
          <a:xfrm>
            <a:off x="976549" y="2030235"/>
            <a:ext cx="231273" cy="222022"/>
          </a:xfrm>
          <a:custGeom>
            <a:avLst/>
            <a:gdLst>
              <a:gd name="connsiteX0" fmla="*/ 80551 w 231272"/>
              <a:gd name="connsiteY0" fmla="*/ 222785 h 222021"/>
              <a:gd name="connsiteX1" fmla="*/ 216169 w 231272"/>
              <a:gd name="connsiteY1" fmla="*/ 134531 h 222021"/>
              <a:gd name="connsiteX2" fmla="*/ 215799 w 231272"/>
              <a:gd name="connsiteY2" fmla="*/ 63207 h 222021"/>
              <a:gd name="connsiteX3" fmla="*/ 151505 w 231272"/>
              <a:gd name="connsiteY3" fmla="*/ 84022 h 222021"/>
              <a:gd name="connsiteX4" fmla="*/ 168990 w 231272"/>
              <a:gd name="connsiteY4" fmla="*/ 146188 h 222021"/>
              <a:gd name="connsiteX5" fmla="*/ 151968 w 231272"/>
              <a:gd name="connsiteY5" fmla="*/ 148778 h 222021"/>
              <a:gd name="connsiteX6" fmla="*/ 108119 w 231272"/>
              <a:gd name="connsiteY6" fmla="*/ 119915 h 222021"/>
              <a:gd name="connsiteX7" fmla="*/ 90079 w 231272"/>
              <a:gd name="connsiteY7" fmla="*/ 126853 h 222021"/>
              <a:gd name="connsiteX8" fmla="*/ 84159 w 231272"/>
              <a:gd name="connsiteY8" fmla="*/ 127686 h 222021"/>
              <a:gd name="connsiteX9" fmla="*/ 81014 w 231272"/>
              <a:gd name="connsiteY9" fmla="*/ 128148 h 222021"/>
              <a:gd name="connsiteX10" fmla="*/ 55759 w 231272"/>
              <a:gd name="connsiteY10" fmla="*/ 122968 h 222021"/>
              <a:gd name="connsiteX11" fmla="*/ 42252 w 231272"/>
              <a:gd name="connsiteY11" fmla="*/ 112144 h 222021"/>
              <a:gd name="connsiteX12" fmla="*/ 88414 w 231272"/>
              <a:gd name="connsiteY12" fmla="*/ 67092 h 222021"/>
              <a:gd name="connsiteX13" fmla="*/ 43177 w 231272"/>
              <a:gd name="connsiteY13" fmla="*/ 16953 h 222021"/>
              <a:gd name="connsiteX14" fmla="*/ 7191 w 231272"/>
              <a:gd name="connsiteY14" fmla="*/ 78564 h 222021"/>
              <a:gd name="connsiteX15" fmla="*/ 17737 w 231272"/>
              <a:gd name="connsiteY15" fmla="*/ 109369 h 222021"/>
              <a:gd name="connsiteX16" fmla="*/ 22178 w 231272"/>
              <a:gd name="connsiteY16" fmla="*/ 117880 h 222021"/>
              <a:gd name="connsiteX17" fmla="*/ 80551 w 231272"/>
              <a:gd name="connsiteY17" fmla="*/ 222785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31272" h="222021">
                <a:moveTo>
                  <a:pt x="80551" y="222785"/>
                </a:moveTo>
                <a:cubicBezTo>
                  <a:pt x="141237" y="179398"/>
                  <a:pt x="194522" y="162747"/>
                  <a:pt x="216169" y="134531"/>
                </a:cubicBezTo>
                <a:cubicBezTo>
                  <a:pt x="229213" y="117602"/>
                  <a:pt x="230786" y="96603"/>
                  <a:pt x="215799" y="63207"/>
                </a:cubicBezTo>
                <a:cubicBezTo>
                  <a:pt x="189804" y="5204"/>
                  <a:pt x="135039" y="60987"/>
                  <a:pt x="151505" y="84022"/>
                </a:cubicBezTo>
                <a:cubicBezTo>
                  <a:pt x="195447" y="44335"/>
                  <a:pt x="231711" y="123430"/>
                  <a:pt x="168990" y="146188"/>
                </a:cubicBezTo>
                <a:cubicBezTo>
                  <a:pt x="163347" y="148223"/>
                  <a:pt x="157611" y="149055"/>
                  <a:pt x="151968" y="148778"/>
                </a:cubicBezTo>
                <a:cubicBezTo>
                  <a:pt x="134946" y="148038"/>
                  <a:pt x="118480" y="137399"/>
                  <a:pt x="108119" y="119915"/>
                </a:cubicBezTo>
                <a:cubicBezTo>
                  <a:pt x="102198" y="123245"/>
                  <a:pt x="96092" y="125558"/>
                  <a:pt x="90079" y="126853"/>
                </a:cubicBezTo>
                <a:cubicBezTo>
                  <a:pt x="88137" y="127316"/>
                  <a:pt x="86102" y="127408"/>
                  <a:pt x="84159" y="127686"/>
                </a:cubicBezTo>
                <a:cubicBezTo>
                  <a:pt x="83141" y="127778"/>
                  <a:pt x="82031" y="128056"/>
                  <a:pt x="81014" y="128148"/>
                </a:cubicBezTo>
                <a:cubicBezTo>
                  <a:pt x="72040" y="128611"/>
                  <a:pt x="63344" y="126946"/>
                  <a:pt x="55759" y="122968"/>
                </a:cubicBezTo>
                <a:cubicBezTo>
                  <a:pt x="50671" y="120378"/>
                  <a:pt x="46138" y="116770"/>
                  <a:pt x="42252" y="112144"/>
                </a:cubicBezTo>
                <a:cubicBezTo>
                  <a:pt x="-764" y="61079"/>
                  <a:pt x="70190" y="10662"/>
                  <a:pt x="88414" y="67092"/>
                </a:cubicBezTo>
                <a:cubicBezTo>
                  <a:pt x="114132" y="55344"/>
                  <a:pt x="94705" y="-20329"/>
                  <a:pt x="43177" y="16953"/>
                </a:cubicBezTo>
                <a:cubicBezTo>
                  <a:pt x="13482" y="38415"/>
                  <a:pt x="4416" y="57379"/>
                  <a:pt x="7191" y="78564"/>
                </a:cubicBezTo>
                <a:cubicBezTo>
                  <a:pt x="8486" y="88277"/>
                  <a:pt x="12279" y="98360"/>
                  <a:pt x="17737" y="109369"/>
                </a:cubicBezTo>
                <a:cubicBezTo>
                  <a:pt x="19125" y="112144"/>
                  <a:pt x="20605" y="114920"/>
                  <a:pt x="22178" y="117880"/>
                </a:cubicBezTo>
                <a:cubicBezTo>
                  <a:pt x="37072" y="145263"/>
                  <a:pt x="60292" y="178288"/>
                  <a:pt x="80551" y="222785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0" name="Freeform: Shape 749">
            <a:extLst>
              <a:ext uri="{FF2B5EF4-FFF2-40B4-BE49-F238E27FC236}">
                <a16:creationId xmlns="" xmlns:a16="http://schemas.microsoft.com/office/drawing/2014/main" id="{5C903932-D4EF-443F-B84E-05E024EC0A5A}"/>
              </a:ext>
            </a:extLst>
          </p:cNvPr>
          <p:cNvSpPr/>
          <p:nvPr/>
        </p:nvSpPr>
        <p:spPr>
          <a:xfrm>
            <a:off x="480591" y="1408880"/>
            <a:ext cx="222022" cy="222022"/>
          </a:xfrm>
          <a:custGeom>
            <a:avLst/>
            <a:gdLst>
              <a:gd name="connsiteX0" fmla="*/ 172985 w 222021"/>
              <a:gd name="connsiteY0" fmla="*/ 12670 h 222021"/>
              <a:gd name="connsiteX1" fmla="*/ 137091 w 222021"/>
              <a:gd name="connsiteY1" fmla="*/ 69933 h 222021"/>
              <a:gd name="connsiteX2" fmla="*/ 190377 w 222021"/>
              <a:gd name="connsiteY2" fmla="*/ 106289 h 222021"/>
              <a:gd name="connsiteX3" fmla="*/ 178998 w 222021"/>
              <a:gd name="connsiteY3" fmla="*/ 119240 h 222021"/>
              <a:gd name="connsiteX4" fmla="*/ 126915 w 222021"/>
              <a:gd name="connsiteY4" fmla="*/ 125346 h 222021"/>
              <a:gd name="connsiteX5" fmla="*/ 117572 w 222021"/>
              <a:gd name="connsiteY5" fmla="*/ 142275 h 222021"/>
              <a:gd name="connsiteX6" fmla="*/ 112391 w 222021"/>
              <a:gd name="connsiteY6" fmla="*/ 147918 h 222021"/>
              <a:gd name="connsiteX7" fmla="*/ 111374 w 222021"/>
              <a:gd name="connsiteY7" fmla="*/ 149028 h 222021"/>
              <a:gd name="connsiteX8" fmla="*/ 101013 w 222021"/>
              <a:gd name="connsiteY8" fmla="*/ 156429 h 222021"/>
              <a:gd name="connsiteX9" fmla="*/ 88802 w 222021"/>
              <a:gd name="connsiteY9" fmla="*/ 161332 h 222021"/>
              <a:gd name="connsiteX10" fmla="*/ 71595 w 222021"/>
              <a:gd name="connsiteY10" fmla="*/ 161702 h 222021"/>
              <a:gd name="connsiteX11" fmla="*/ 77978 w 222021"/>
              <a:gd name="connsiteY11" fmla="*/ 97501 h 222021"/>
              <a:gd name="connsiteX12" fmla="*/ 11094 w 222021"/>
              <a:gd name="connsiteY12" fmla="*/ 88157 h 222021"/>
              <a:gd name="connsiteX13" fmla="*/ 16182 w 222021"/>
              <a:gd name="connsiteY13" fmla="*/ 150693 h 222021"/>
              <a:gd name="connsiteX14" fmla="*/ 27283 w 222021"/>
              <a:gd name="connsiteY14" fmla="*/ 161887 h 222021"/>
              <a:gd name="connsiteX15" fmla="*/ 31816 w 222021"/>
              <a:gd name="connsiteY15" fmla="*/ 165125 h 222021"/>
              <a:gd name="connsiteX16" fmla="*/ 39309 w 222021"/>
              <a:gd name="connsiteY16" fmla="*/ 169565 h 222021"/>
              <a:gd name="connsiteX17" fmla="*/ 44120 w 222021"/>
              <a:gd name="connsiteY17" fmla="*/ 172063 h 222021"/>
              <a:gd name="connsiteX18" fmla="*/ 58829 w 222021"/>
              <a:gd name="connsiteY18" fmla="*/ 178538 h 222021"/>
              <a:gd name="connsiteX19" fmla="*/ 80013 w 222021"/>
              <a:gd name="connsiteY19" fmla="*/ 186309 h 222021"/>
              <a:gd name="connsiteX20" fmla="*/ 113779 w 222021"/>
              <a:gd name="connsiteY20" fmla="*/ 197965 h 222021"/>
              <a:gd name="connsiteX21" fmla="*/ 159664 w 222021"/>
              <a:gd name="connsiteY21" fmla="*/ 216097 h 222021"/>
              <a:gd name="connsiteX22" fmla="*/ 165214 w 222021"/>
              <a:gd name="connsiteY22" fmla="*/ 218595 h 222021"/>
              <a:gd name="connsiteX23" fmla="*/ 172152 w 222021"/>
              <a:gd name="connsiteY23" fmla="*/ 221833 h 222021"/>
              <a:gd name="connsiteX24" fmla="*/ 216742 w 222021"/>
              <a:gd name="connsiteY24" fmla="*/ 89822 h 222021"/>
              <a:gd name="connsiteX25" fmla="*/ 218869 w 222021"/>
              <a:gd name="connsiteY25" fmla="*/ 78074 h 222021"/>
              <a:gd name="connsiteX26" fmla="*/ 172985 w 222021"/>
              <a:gd name="connsiteY26" fmla="*/ 12670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22021" h="222021">
                <a:moveTo>
                  <a:pt x="172985" y="12670"/>
                </a:moveTo>
                <a:cubicBezTo>
                  <a:pt x="115722" y="-15083"/>
                  <a:pt x="109709" y="62810"/>
                  <a:pt x="137091" y="69933"/>
                </a:cubicBezTo>
                <a:cubicBezTo>
                  <a:pt x="145232" y="11282"/>
                  <a:pt x="223865" y="48563"/>
                  <a:pt x="190377" y="106289"/>
                </a:cubicBezTo>
                <a:cubicBezTo>
                  <a:pt x="187416" y="111469"/>
                  <a:pt x="183531" y="115817"/>
                  <a:pt x="178998" y="119240"/>
                </a:cubicBezTo>
                <a:cubicBezTo>
                  <a:pt x="165399" y="129601"/>
                  <a:pt x="146065" y="132006"/>
                  <a:pt x="126915" y="125346"/>
                </a:cubicBezTo>
                <a:cubicBezTo>
                  <a:pt x="124510" y="131636"/>
                  <a:pt x="121365" y="137372"/>
                  <a:pt x="117572" y="142275"/>
                </a:cubicBezTo>
                <a:cubicBezTo>
                  <a:pt x="115999" y="144310"/>
                  <a:pt x="114242" y="146160"/>
                  <a:pt x="112391" y="147918"/>
                </a:cubicBezTo>
                <a:cubicBezTo>
                  <a:pt x="112021" y="148288"/>
                  <a:pt x="111744" y="148658"/>
                  <a:pt x="111374" y="149028"/>
                </a:cubicBezTo>
                <a:cubicBezTo>
                  <a:pt x="108229" y="151988"/>
                  <a:pt x="104621" y="154394"/>
                  <a:pt x="101013" y="156429"/>
                </a:cubicBezTo>
                <a:cubicBezTo>
                  <a:pt x="97128" y="158557"/>
                  <a:pt x="93057" y="160314"/>
                  <a:pt x="88802" y="161332"/>
                </a:cubicBezTo>
                <a:cubicBezTo>
                  <a:pt x="83251" y="162534"/>
                  <a:pt x="77423" y="162719"/>
                  <a:pt x="71595" y="161702"/>
                </a:cubicBezTo>
                <a:cubicBezTo>
                  <a:pt x="5821" y="150231"/>
                  <a:pt x="27746" y="66048"/>
                  <a:pt x="77978" y="97501"/>
                </a:cubicBezTo>
                <a:cubicBezTo>
                  <a:pt x="90189" y="71968"/>
                  <a:pt x="26636" y="26546"/>
                  <a:pt x="11094" y="88157"/>
                </a:cubicBezTo>
                <a:cubicBezTo>
                  <a:pt x="3601" y="117760"/>
                  <a:pt x="6006" y="136817"/>
                  <a:pt x="16182" y="150693"/>
                </a:cubicBezTo>
                <a:cubicBezTo>
                  <a:pt x="19235" y="154856"/>
                  <a:pt x="22935" y="158557"/>
                  <a:pt x="27283" y="161887"/>
                </a:cubicBezTo>
                <a:cubicBezTo>
                  <a:pt x="28763" y="162997"/>
                  <a:pt x="30244" y="164107"/>
                  <a:pt x="31816" y="165125"/>
                </a:cubicBezTo>
                <a:cubicBezTo>
                  <a:pt x="34129" y="166697"/>
                  <a:pt x="36627" y="168085"/>
                  <a:pt x="39309" y="169565"/>
                </a:cubicBezTo>
                <a:cubicBezTo>
                  <a:pt x="40882" y="170398"/>
                  <a:pt x="42455" y="171230"/>
                  <a:pt x="44120" y="172063"/>
                </a:cubicBezTo>
                <a:cubicBezTo>
                  <a:pt x="48653" y="174283"/>
                  <a:pt x="53556" y="176411"/>
                  <a:pt x="58829" y="178538"/>
                </a:cubicBezTo>
                <a:cubicBezTo>
                  <a:pt x="65397" y="181129"/>
                  <a:pt x="72428" y="183719"/>
                  <a:pt x="80013" y="186309"/>
                </a:cubicBezTo>
                <a:cubicBezTo>
                  <a:pt x="90467" y="189917"/>
                  <a:pt x="101753" y="193710"/>
                  <a:pt x="113779" y="197965"/>
                </a:cubicBezTo>
                <a:cubicBezTo>
                  <a:pt x="128118" y="203053"/>
                  <a:pt x="143475" y="208881"/>
                  <a:pt x="159664" y="216097"/>
                </a:cubicBezTo>
                <a:cubicBezTo>
                  <a:pt x="161514" y="216930"/>
                  <a:pt x="163364" y="217762"/>
                  <a:pt x="165214" y="218595"/>
                </a:cubicBezTo>
                <a:cubicBezTo>
                  <a:pt x="167527" y="219612"/>
                  <a:pt x="169747" y="220722"/>
                  <a:pt x="172152" y="221833"/>
                </a:cubicBezTo>
                <a:cubicBezTo>
                  <a:pt x="187046" y="164107"/>
                  <a:pt x="209248" y="122385"/>
                  <a:pt x="216742" y="89822"/>
                </a:cubicBezTo>
                <a:cubicBezTo>
                  <a:pt x="217667" y="85752"/>
                  <a:pt x="218407" y="81867"/>
                  <a:pt x="218869" y="78074"/>
                </a:cubicBezTo>
                <a:cubicBezTo>
                  <a:pt x="221737" y="51616"/>
                  <a:pt x="211376" y="31357"/>
                  <a:pt x="172985" y="12670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1" name="Freeform: Shape 750">
            <a:extLst>
              <a:ext uri="{FF2B5EF4-FFF2-40B4-BE49-F238E27FC236}">
                <a16:creationId xmlns="" xmlns:a16="http://schemas.microsoft.com/office/drawing/2014/main" id="{1AE70D93-D2D7-4EEE-B47C-380763A8AF84}"/>
              </a:ext>
            </a:extLst>
          </p:cNvPr>
          <p:cNvSpPr/>
          <p:nvPr/>
        </p:nvSpPr>
        <p:spPr>
          <a:xfrm>
            <a:off x="234419" y="3733345"/>
            <a:ext cx="212771" cy="231272"/>
          </a:xfrm>
          <a:custGeom>
            <a:avLst/>
            <a:gdLst>
              <a:gd name="connsiteX0" fmla="*/ 24329 w 212770"/>
              <a:gd name="connsiteY0" fmla="*/ 29422 h 231272"/>
              <a:gd name="connsiteX1" fmla="*/ 61055 w 212770"/>
              <a:gd name="connsiteY1" fmla="*/ 86130 h 231272"/>
              <a:gd name="connsiteX2" fmla="*/ 116560 w 212770"/>
              <a:gd name="connsiteY2" fmla="*/ 53197 h 231272"/>
              <a:gd name="connsiteX3" fmla="*/ 106939 w 212770"/>
              <a:gd name="connsiteY3" fmla="*/ 118786 h 231272"/>
              <a:gd name="connsiteX4" fmla="*/ 116560 w 212770"/>
              <a:gd name="connsiteY4" fmla="*/ 184374 h 231272"/>
              <a:gd name="connsiteX5" fmla="*/ 61055 w 212770"/>
              <a:gd name="connsiteY5" fmla="*/ 151441 h 231272"/>
              <a:gd name="connsiteX6" fmla="*/ 24329 w 212770"/>
              <a:gd name="connsiteY6" fmla="*/ 208149 h 231272"/>
              <a:gd name="connsiteX7" fmla="*/ 213510 w 212770"/>
              <a:gd name="connsiteY7" fmla="*/ 118786 h 231272"/>
              <a:gd name="connsiteX8" fmla="*/ 24329 w 212770"/>
              <a:gd name="connsiteY8" fmla="*/ 29422 h 2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770" h="231272">
                <a:moveTo>
                  <a:pt x="24329" y="29422"/>
                </a:moveTo>
                <a:cubicBezTo>
                  <a:pt x="-24978" y="69571"/>
                  <a:pt x="43108" y="107962"/>
                  <a:pt x="61055" y="86130"/>
                </a:cubicBezTo>
                <a:cubicBezTo>
                  <a:pt x="11378" y="53937"/>
                  <a:pt x="78354" y="-1568"/>
                  <a:pt x="116560" y="53197"/>
                </a:cubicBezTo>
                <a:cubicBezTo>
                  <a:pt x="130252" y="72809"/>
                  <a:pt x="125904" y="99451"/>
                  <a:pt x="106939" y="118786"/>
                </a:cubicBezTo>
                <a:cubicBezTo>
                  <a:pt x="125904" y="138120"/>
                  <a:pt x="130159" y="164763"/>
                  <a:pt x="116560" y="184374"/>
                </a:cubicBezTo>
                <a:cubicBezTo>
                  <a:pt x="78354" y="239140"/>
                  <a:pt x="11378" y="183634"/>
                  <a:pt x="61055" y="151441"/>
                </a:cubicBezTo>
                <a:cubicBezTo>
                  <a:pt x="43016" y="129609"/>
                  <a:pt x="-24978" y="168000"/>
                  <a:pt x="24329" y="208149"/>
                </a:cubicBezTo>
                <a:cubicBezTo>
                  <a:pt x="100001" y="269760"/>
                  <a:pt x="121371" y="194643"/>
                  <a:pt x="213510" y="118786"/>
                </a:cubicBezTo>
                <a:cubicBezTo>
                  <a:pt x="121371" y="43021"/>
                  <a:pt x="99909" y="-32189"/>
                  <a:pt x="24329" y="29422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2" name="Freeform: Shape 751">
            <a:extLst>
              <a:ext uri="{FF2B5EF4-FFF2-40B4-BE49-F238E27FC236}">
                <a16:creationId xmlns="" xmlns:a16="http://schemas.microsoft.com/office/drawing/2014/main" id="{171849E2-DBE9-413E-8CB4-D73DA21045BD}"/>
              </a:ext>
            </a:extLst>
          </p:cNvPr>
          <p:cNvSpPr/>
          <p:nvPr/>
        </p:nvSpPr>
        <p:spPr>
          <a:xfrm>
            <a:off x="1003332" y="3231572"/>
            <a:ext cx="212771" cy="203520"/>
          </a:xfrm>
          <a:custGeom>
            <a:avLst/>
            <a:gdLst>
              <a:gd name="connsiteX0" fmla="*/ 122873 w 212770"/>
              <a:gd name="connsiteY0" fmla="*/ 205841 h 203519"/>
              <a:gd name="connsiteX1" fmla="*/ 210386 w 212770"/>
              <a:gd name="connsiteY1" fmla="*/ 15735 h 203519"/>
              <a:gd name="connsiteX2" fmla="*/ 7977 w 212770"/>
              <a:gd name="connsiteY2" fmla="*/ 68928 h 203519"/>
              <a:gd name="connsiteX3" fmla="*/ 72548 w 212770"/>
              <a:gd name="connsiteY3" fmla="*/ 88725 h 203519"/>
              <a:gd name="connsiteX4" fmla="*/ 93917 w 212770"/>
              <a:gd name="connsiteY4" fmla="*/ 27854 h 203519"/>
              <a:gd name="connsiteX5" fmla="*/ 128701 w 212770"/>
              <a:gd name="connsiteY5" fmla="*/ 84284 h 203519"/>
              <a:gd name="connsiteX6" fmla="*/ 178193 w 212770"/>
              <a:gd name="connsiteY6" fmla="*/ 128318 h 203519"/>
              <a:gd name="connsiteX7" fmla="*/ 114547 w 212770"/>
              <a:gd name="connsiteY7" fmla="*/ 138772 h 203519"/>
              <a:gd name="connsiteX8" fmla="*/ 122873 w 212770"/>
              <a:gd name="connsiteY8" fmla="*/ 205841 h 203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770" h="203519">
                <a:moveTo>
                  <a:pt x="122873" y="205841"/>
                </a:moveTo>
                <a:cubicBezTo>
                  <a:pt x="220470" y="204361"/>
                  <a:pt x="188554" y="133037"/>
                  <a:pt x="210386" y="15735"/>
                </a:cubicBezTo>
                <a:cubicBezTo>
                  <a:pt x="91050" y="16845"/>
                  <a:pt x="26386" y="-26912"/>
                  <a:pt x="7977" y="68928"/>
                </a:cubicBezTo>
                <a:cubicBezTo>
                  <a:pt x="-3957" y="131371"/>
                  <a:pt x="72825" y="117032"/>
                  <a:pt x="72548" y="88725"/>
                </a:cubicBezTo>
                <a:cubicBezTo>
                  <a:pt x="13805" y="96033"/>
                  <a:pt x="29439" y="10462"/>
                  <a:pt x="93917" y="27854"/>
                </a:cubicBezTo>
                <a:cubicBezTo>
                  <a:pt x="116952" y="34052"/>
                  <a:pt x="130829" y="57272"/>
                  <a:pt x="128701" y="84284"/>
                </a:cubicBezTo>
                <a:cubicBezTo>
                  <a:pt x="155621" y="86967"/>
                  <a:pt x="176065" y="104544"/>
                  <a:pt x="178193" y="128318"/>
                </a:cubicBezTo>
                <a:cubicBezTo>
                  <a:pt x="184114" y="194832"/>
                  <a:pt x="97155" y="195388"/>
                  <a:pt x="114547" y="138772"/>
                </a:cubicBezTo>
                <a:cubicBezTo>
                  <a:pt x="86794" y="133592"/>
                  <a:pt x="59319" y="206766"/>
                  <a:pt x="122873" y="205841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3" name="Freeform: Shape 752">
            <a:extLst>
              <a:ext uri="{FF2B5EF4-FFF2-40B4-BE49-F238E27FC236}">
                <a16:creationId xmlns="" xmlns:a16="http://schemas.microsoft.com/office/drawing/2014/main" id="{271B3830-EE98-401D-AF4D-12624036497A}"/>
              </a:ext>
            </a:extLst>
          </p:cNvPr>
          <p:cNvSpPr/>
          <p:nvPr/>
        </p:nvSpPr>
        <p:spPr>
          <a:xfrm>
            <a:off x="1269683" y="2284972"/>
            <a:ext cx="231273" cy="222022"/>
          </a:xfrm>
          <a:custGeom>
            <a:avLst/>
            <a:gdLst>
              <a:gd name="connsiteX0" fmla="*/ 21095 w 231272"/>
              <a:gd name="connsiteY0" fmla="*/ 177581 h 222021"/>
              <a:gd name="connsiteX1" fmla="*/ 83353 w 231272"/>
              <a:gd name="connsiteY1" fmla="*/ 151216 h 222021"/>
              <a:gd name="connsiteX2" fmla="*/ 60596 w 231272"/>
              <a:gd name="connsiteY2" fmla="*/ 90807 h 222021"/>
              <a:gd name="connsiteX3" fmla="*/ 123502 w 231272"/>
              <a:gd name="connsiteY3" fmla="*/ 111622 h 222021"/>
              <a:gd name="connsiteX4" fmla="*/ 189739 w 231272"/>
              <a:gd name="connsiteY4" fmla="*/ 113565 h 222021"/>
              <a:gd name="connsiteX5" fmla="*/ 147647 w 231272"/>
              <a:gd name="connsiteY5" fmla="*/ 162502 h 222021"/>
              <a:gd name="connsiteX6" fmla="*/ 197139 w 231272"/>
              <a:gd name="connsiteY6" fmla="*/ 208571 h 222021"/>
              <a:gd name="connsiteX7" fmla="*/ 142004 w 231272"/>
              <a:gd name="connsiteY7" fmla="*/ 6717 h 222021"/>
              <a:gd name="connsiteX8" fmla="*/ 21095 w 231272"/>
              <a:gd name="connsiteY8" fmla="*/ 177581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1272" h="222021">
                <a:moveTo>
                  <a:pt x="21095" y="177581"/>
                </a:moveTo>
                <a:cubicBezTo>
                  <a:pt x="52085" y="233086"/>
                  <a:pt x="101670" y="172771"/>
                  <a:pt x="83353" y="151216"/>
                </a:cubicBezTo>
                <a:cubicBezTo>
                  <a:pt x="43019" y="194602"/>
                  <a:pt x="3" y="118930"/>
                  <a:pt x="60596" y="90807"/>
                </a:cubicBezTo>
                <a:cubicBezTo>
                  <a:pt x="82243" y="80724"/>
                  <a:pt x="107776" y="89605"/>
                  <a:pt x="123502" y="111622"/>
                </a:cubicBezTo>
                <a:cubicBezTo>
                  <a:pt x="145797" y="96358"/>
                  <a:pt x="172810" y="96728"/>
                  <a:pt x="189739" y="113565"/>
                </a:cubicBezTo>
                <a:cubicBezTo>
                  <a:pt x="237011" y="160652"/>
                  <a:pt x="170775" y="217082"/>
                  <a:pt x="147647" y="162502"/>
                </a:cubicBezTo>
                <a:cubicBezTo>
                  <a:pt x="123040" y="176471"/>
                  <a:pt x="149035" y="250108"/>
                  <a:pt x="197139" y="208571"/>
                </a:cubicBezTo>
                <a:cubicBezTo>
                  <a:pt x="270962" y="144740"/>
                  <a:pt x="200655" y="110604"/>
                  <a:pt x="142004" y="6717"/>
                </a:cubicBezTo>
                <a:cubicBezTo>
                  <a:pt x="51345" y="84332"/>
                  <a:pt x="-26362" y="92380"/>
                  <a:pt x="21095" y="177581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4" name="Freeform: Shape 753">
            <a:extLst>
              <a:ext uri="{FF2B5EF4-FFF2-40B4-BE49-F238E27FC236}">
                <a16:creationId xmlns="" xmlns:a16="http://schemas.microsoft.com/office/drawing/2014/main" id="{038DAD9C-D77F-468C-AFD5-B82E9CFD5F40}"/>
              </a:ext>
            </a:extLst>
          </p:cNvPr>
          <p:cNvSpPr/>
          <p:nvPr/>
        </p:nvSpPr>
        <p:spPr>
          <a:xfrm>
            <a:off x="908296" y="1425841"/>
            <a:ext cx="212771" cy="222022"/>
          </a:xfrm>
          <a:custGeom>
            <a:avLst/>
            <a:gdLst>
              <a:gd name="connsiteX0" fmla="*/ 57960 w 212770"/>
              <a:gd name="connsiteY0" fmla="*/ 215232 h 222021"/>
              <a:gd name="connsiteX1" fmla="*/ 88673 w 212770"/>
              <a:gd name="connsiteY1" fmla="*/ 155101 h 222021"/>
              <a:gd name="connsiteX2" fmla="*/ 32428 w 212770"/>
              <a:gd name="connsiteY2" fmla="*/ 123463 h 222021"/>
              <a:gd name="connsiteX3" fmla="*/ 94039 w 212770"/>
              <a:gd name="connsiteY3" fmla="*/ 98948 h 222021"/>
              <a:gd name="connsiteX4" fmla="*/ 146029 w 212770"/>
              <a:gd name="connsiteY4" fmla="*/ 57874 h 222021"/>
              <a:gd name="connsiteX5" fmla="*/ 145289 w 212770"/>
              <a:gd name="connsiteY5" fmla="*/ 122445 h 222021"/>
              <a:gd name="connsiteX6" fmla="*/ 212728 w 212770"/>
              <a:gd name="connsiteY6" fmla="*/ 125868 h 222021"/>
              <a:gd name="connsiteX7" fmla="*/ 40754 w 212770"/>
              <a:gd name="connsiteY7" fmla="*/ 6717 h 222021"/>
              <a:gd name="connsiteX8" fmla="*/ 57960 w 212770"/>
              <a:gd name="connsiteY8" fmla="*/ 215232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770" h="222021">
                <a:moveTo>
                  <a:pt x="57960" y="215232"/>
                </a:moveTo>
                <a:cubicBezTo>
                  <a:pt x="117351" y="237897"/>
                  <a:pt x="116611" y="159727"/>
                  <a:pt x="88673" y="155101"/>
                </a:cubicBezTo>
                <a:cubicBezTo>
                  <a:pt x="85621" y="214214"/>
                  <a:pt x="4028" y="183964"/>
                  <a:pt x="32428" y="123463"/>
                </a:cubicBezTo>
                <a:cubicBezTo>
                  <a:pt x="42604" y="101816"/>
                  <a:pt x="67766" y="92288"/>
                  <a:pt x="94039" y="98948"/>
                </a:cubicBezTo>
                <a:cubicBezTo>
                  <a:pt x="101347" y="72861"/>
                  <a:pt x="122254" y="55839"/>
                  <a:pt x="146029" y="57874"/>
                </a:cubicBezTo>
                <a:cubicBezTo>
                  <a:pt x="212543" y="63610"/>
                  <a:pt x="198019" y="149366"/>
                  <a:pt x="145289" y="122445"/>
                </a:cubicBezTo>
                <a:cubicBezTo>
                  <a:pt x="135390" y="148995"/>
                  <a:pt x="202645" y="188682"/>
                  <a:pt x="212728" y="125868"/>
                </a:cubicBezTo>
                <a:cubicBezTo>
                  <a:pt x="228270" y="29566"/>
                  <a:pt x="152505" y="48531"/>
                  <a:pt x="40754" y="6717"/>
                </a:cubicBezTo>
                <a:cubicBezTo>
                  <a:pt x="21142" y="124388"/>
                  <a:pt x="-33253" y="180541"/>
                  <a:pt x="57960" y="215232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5" name="Freeform: Shape 754">
            <a:extLst>
              <a:ext uri="{FF2B5EF4-FFF2-40B4-BE49-F238E27FC236}">
                <a16:creationId xmlns="" xmlns:a16="http://schemas.microsoft.com/office/drawing/2014/main" id="{D966B472-BC93-4A29-BCC1-ED10C13808A3}"/>
              </a:ext>
            </a:extLst>
          </p:cNvPr>
          <p:cNvSpPr/>
          <p:nvPr/>
        </p:nvSpPr>
        <p:spPr>
          <a:xfrm>
            <a:off x="35560" y="1004364"/>
            <a:ext cx="222022" cy="222022"/>
          </a:xfrm>
          <a:custGeom>
            <a:avLst/>
            <a:gdLst>
              <a:gd name="connsiteX0" fmla="*/ 153991 w 222021"/>
              <a:gd name="connsiteY0" fmla="*/ 215979 h 222021"/>
              <a:gd name="connsiteX1" fmla="*/ 138820 w 222021"/>
              <a:gd name="connsiteY1" fmla="*/ 150112 h 222021"/>
              <a:gd name="connsiteX2" fmla="*/ 75358 w 222021"/>
              <a:gd name="connsiteY2" fmla="*/ 162046 h 222021"/>
              <a:gd name="connsiteX3" fmla="*/ 106811 w 222021"/>
              <a:gd name="connsiteY3" fmla="*/ 103673 h 222021"/>
              <a:gd name="connsiteX4" fmla="*/ 120225 w 222021"/>
              <a:gd name="connsiteY4" fmla="*/ 38732 h 222021"/>
              <a:gd name="connsiteX5" fmla="*/ 161114 w 222021"/>
              <a:gd name="connsiteY5" fmla="*/ 88686 h 222021"/>
              <a:gd name="connsiteX6" fmla="*/ 215047 w 222021"/>
              <a:gd name="connsiteY6" fmla="*/ 47982 h 222021"/>
              <a:gd name="connsiteX7" fmla="*/ 6717 w 222021"/>
              <a:gd name="connsiteY7" fmla="*/ 67224 h 222021"/>
              <a:gd name="connsiteX8" fmla="*/ 153991 w 222021"/>
              <a:gd name="connsiteY8" fmla="*/ 215979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021" h="222021">
                <a:moveTo>
                  <a:pt x="153991" y="215979"/>
                </a:moveTo>
                <a:cubicBezTo>
                  <a:pt x="214029" y="195072"/>
                  <a:pt x="163242" y="135774"/>
                  <a:pt x="138820" y="150112"/>
                </a:cubicBezTo>
                <a:cubicBezTo>
                  <a:pt x="174528" y="197384"/>
                  <a:pt x="92565" y="226617"/>
                  <a:pt x="75358" y="162046"/>
                </a:cubicBezTo>
                <a:cubicBezTo>
                  <a:pt x="69253" y="138919"/>
                  <a:pt x="82389" y="115422"/>
                  <a:pt x="106811" y="103673"/>
                </a:cubicBezTo>
                <a:cubicBezTo>
                  <a:pt x="95618" y="79066"/>
                  <a:pt x="100706" y="52515"/>
                  <a:pt x="120225" y="38732"/>
                </a:cubicBezTo>
                <a:cubicBezTo>
                  <a:pt x="174806" y="340"/>
                  <a:pt x="218840" y="75365"/>
                  <a:pt x="161114" y="88686"/>
                </a:cubicBezTo>
                <a:cubicBezTo>
                  <a:pt x="170550" y="115329"/>
                  <a:pt x="247610" y="102563"/>
                  <a:pt x="215047" y="47982"/>
                </a:cubicBezTo>
                <a:cubicBezTo>
                  <a:pt x="165000" y="-35831"/>
                  <a:pt x="119208" y="27538"/>
                  <a:pt x="6717" y="67224"/>
                </a:cubicBezTo>
                <a:cubicBezTo>
                  <a:pt x="67403" y="170094"/>
                  <a:pt x="61852" y="247987"/>
                  <a:pt x="153991" y="215979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6" name="Freeform: Shape 755">
            <a:extLst>
              <a:ext uri="{FF2B5EF4-FFF2-40B4-BE49-F238E27FC236}">
                <a16:creationId xmlns="" xmlns:a16="http://schemas.microsoft.com/office/drawing/2014/main" id="{81A46EA7-DF1E-43E0-9E58-573043241A2F}"/>
              </a:ext>
            </a:extLst>
          </p:cNvPr>
          <p:cNvSpPr/>
          <p:nvPr/>
        </p:nvSpPr>
        <p:spPr>
          <a:xfrm>
            <a:off x="520770" y="3626344"/>
            <a:ext cx="212771" cy="203520"/>
          </a:xfrm>
          <a:custGeom>
            <a:avLst/>
            <a:gdLst>
              <a:gd name="connsiteX0" fmla="*/ 144555 w 212770"/>
              <a:gd name="connsiteY0" fmla="*/ 123842 h 203519"/>
              <a:gd name="connsiteX1" fmla="*/ 123186 w 212770"/>
              <a:gd name="connsiteY1" fmla="*/ 184713 h 203519"/>
              <a:gd name="connsiteX2" fmla="*/ 88402 w 212770"/>
              <a:gd name="connsiteY2" fmla="*/ 128282 h 203519"/>
              <a:gd name="connsiteX3" fmla="*/ 38910 w 212770"/>
              <a:gd name="connsiteY3" fmla="*/ 84248 h 203519"/>
              <a:gd name="connsiteX4" fmla="*/ 102556 w 212770"/>
              <a:gd name="connsiteY4" fmla="*/ 73794 h 203519"/>
              <a:gd name="connsiteX5" fmla="*/ 94230 w 212770"/>
              <a:gd name="connsiteY5" fmla="*/ 6725 h 203519"/>
              <a:gd name="connsiteX6" fmla="*/ 6717 w 212770"/>
              <a:gd name="connsiteY6" fmla="*/ 196831 h 203519"/>
              <a:gd name="connsiteX7" fmla="*/ 209126 w 212770"/>
              <a:gd name="connsiteY7" fmla="*/ 143639 h 203519"/>
              <a:gd name="connsiteX8" fmla="*/ 144555 w 212770"/>
              <a:gd name="connsiteY8" fmla="*/ 123842 h 203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770" h="203519">
                <a:moveTo>
                  <a:pt x="144555" y="123842"/>
                </a:moveTo>
                <a:cubicBezTo>
                  <a:pt x="203298" y="116534"/>
                  <a:pt x="187664" y="202104"/>
                  <a:pt x="123186" y="184713"/>
                </a:cubicBezTo>
                <a:cubicBezTo>
                  <a:pt x="100151" y="178515"/>
                  <a:pt x="86275" y="155295"/>
                  <a:pt x="88402" y="128282"/>
                </a:cubicBezTo>
                <a:cubicBezTo>
                  <a:pt x="61482" y="125600"/>
                  <a:pt x="41038" y="108023"/>
                  <a:pt x="38910" y="84248"/>
                </a:cubicBezTo>
                <a:cubicBezTo>
                  <a:pt x="32989" y="17734"/>
                  <a:pt x="119948" y="17179"/>
                  <a:pt x="102556" y="73794"/>
                </a:cubicBezTo>
                <a:cubicBezTo>
                  <a:pt x="130401" y="78975"/>
                  <a:pt x="157784" y="5800"/>
                  <a:pt x="94230" y="6725"/>
                </a:cubicBezTo>
                <a:cubicBezTo>
                  <a:pt x="-3367" y="8206"/>
                  <a:pt x="28549" y="79530"/>
                  <a:pt x="6717" y="196831"/>
                </a:cubicBezTo>
                <a:cubicBezTo>
                  <a:pt x="126053" y="195721"/>
                  <a:pt x="190717" y="239478"/>
                  <a:pt x="209126" y="143639"/>
                </a:cubicBezTo>
                <a:cubicBezTo>
                  <a:pt x="221060" y="81195"/>
                  <a:pt x="144278" y="95534"/>
                  <a:pt x="144555" y="123842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7" name="Freeform: Shape 756">
            <a:extLst>
              <a:ext uri="{FF2B5EF4-FFF2-40B4-BE49-F238E27FC236}">
                <a16:creationId xmlns="" xmlns:a16="http://schemas.microsoft.com/office/drawing/2014/main" id="{509E49A2-4E37-4617-813A-023F35FC4DA9}"/>
              </a:ext>
            </a:extLst>
          </p:cNvPr>
          <p:cNvSpPr/>
          <p:nvPr/>
        </p:nvSpPr>
        <p:spPr>
          <a:xfrm>
            <a:off x="1162489" y="2952819"/>
            <a:ext cx="231273" cy="222022"/>
          </a:xfrm>
          <a:custGeom>
            <a:avLst/>
            <a:gdLst>
              <a:gd name="connsiteX0" fmla="*/ 152249 w 231272"/>
              <a:gd name="connsiteY0" fmla="*/ 76629 h 222021"/>
              <a:gd name="connsiteX1" fmla="*/ 175006 w 231272"/>
              <a:gd name="connsiteY1" fmla="*/ 137038 h 222021"/>
              <a:gd name="connsiteX2" fmla="*/ 112100 w 231272"/>
              <a:gd name="connsiteY2" fmla="*/ 116223 h 222021"/>
              <a:gd name="connsiteX3" fmla="*/ 45863 w 231272"/>
              <a:gd name="connsiteY3" fmla="*/ 114281 h 222021"/>
              <a:gd name="connsiteX4" fmla="*/ 87955 w 231272"/>
              <a:gd name="connsiteY4" fmla="*/ 65343 h 222021"/>
              <a:gd name="connsiteX5" fmla="*/ 38463 w 231272"/>
              <a:gd name="connsiteY5" fmla="*/ 19274 h 222021"/>
              <a:gd name="connsiteX6" fmla="*/ 93598 w 231272"/>
              <a:gd name="connsiteY6" fmla="*/ 221128 h 222021"/>
              <a:gd name="connsiteX7" fmla="*/ 214415 w 231272"/>
              <a:gd name="connsiteY7" fmla="*/ 50357 h 222021"/>
              <a:gd name="connsiteX8" fmla="*/ 152249 w 231272"/>
              <a:gd name="connsiteY8" fmla="*/ 76629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1272" h="222021">
                <a:moveTo>
                  <a:pt x="152249" y="76629"/>
                </a:moveTo>
                <a:cubicBezTo>
                  <a:pt x="192582" y="33243"/>
                  <a:pt x="235599" y="108915"/>
                  <a:pt x="175006" y="137038"/>
                </a:cubicBezTo>
                <a:cubicBezTo>
                  <a:pt x="153359" y="147121"/>
                  <a:pt x="127826" y="138241"/>
                  <a:pt x="112100" y="116223"/>
                </a:cubicBezTo>
                <a:cubicBezTo>
                  <a:pt x="89805" y="131487"/>
                  <a:pt x="62792" y="131117"/>
                  <a:pt x="45863" y="114281"/>
                </a:cubicBezTo>
                <a:cubicBezTo>
                  <a:pt x="-1409" y="67194"/>
                  <a:pt x="64828" y="10763"/>
                  <a:pt x="87955" y="65343"/>
                </a:cubicBezTo>
                <a:cubicBezTo>
                  <a:pt x="112562" y="51374"/>
                  <a:pt x="86567" y="-22263"/>
                  <a:pt x="38463" y="19274"/>
                </a:cubicBezTo>
                <a:cubicBezTo>
                  <a:pt x="-35360" y="83105"/>
                  <a:pt x="34947" y="117241"/>
                  <a:pt x="93598" y="221128"/>
                </a:cubicBezTo>
                <a:cubicBezTo>
                  <a:pt x="184257" y="143606"/>
                  <a:pt x="261964" y="135558"/>
                  <a:pt x="214415" y="50357"/>
                </a:cubicBezTo>
                <a:cubicBezTo>
                  <a:pt x="183517" y="-5148"/>
                  <a:pt x="133839" y="55167"/>
                  <a:pt x="152249" y="76629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8" name="Freeform: Shape 757">
            <a:extLst>
              <a:ext uri="{FF2B5EF4-FFF2-40B4-BE49-F238E27FC236}">
                <a16:creationId xmlns="" xmlns:a16="http://schemas.microsoft.com/office/drawing/2014/main" id="{87466CAC-111D-4688-93B9-11390D91E6A3}"/>
              </a:ext>
            </a:extLst>
          </p:cNvPr>
          <p:cNvSpPr/>
          <p:nvPr/>
        </p:nvSpPr>
        <p:spPr>
          <a:xfrm>
            <a:off x="1216270" y="1988993"/>
            <a:ext cx="212771" cy="222022"/>
          </a:xfrm>
          <a:custGeom>
            <a:avLst/>
            <a:gdLst>
              <a:gd name="connsiteX0" fmla="*/ 76173 w 212770"/>
              <a:gd name="connsiteY0" fmla="*/ 103617 h 222021"/>
              <a:gd name="connsiteX1" fmla="*/ 8734 w 212770"/>
              <a:gd name="connsiteY1" fmla="*/ 100194 h 222021"/>
              <a:gd name="connsiteX2" fmla="*/ 180709 w 212770"/>
              <a:gd name="connsiteY2" fmla="*/ 219346 h 222021"/>
              <a:gd name="connsiteX3" fmla="*/ 163502 w 212770"/>
              <a:gd name="connsiteY3" fmla="*/ 10830 h 222021"/>
              <a:gd name="connsiteX4" fmla="*/ 132789 w 212770"/>
              <a:gd name="connsiteY4" fmla="*/ 70961 h 222021"/>
              <a:gd name="connsiteX5" fmla="*/ 189034 w 212770"/>
              <a:gd name="connsiteY5" fmla="*/ 102599 h 222021"/>
              <a:gd name="connsiteX6" fmla="*/ 127423 w 212770"/>
              <a:gd name="connsiteY6" fmla="*/ 127114 h 222021"/>
              <a:gd name="connsiteX7" fmla="*/ 75433 w 212770"/>
              <a:gd name="connsiteY7" fmla="*/ 168188 h 222021"/>
              <a:gd name="connsiteX8" fmla="*/ 76173 w 212770"/>
              <a:gd name="connsiteY8" fmla="*/ 103617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770" h="222021">
                <a:moveTo>
                  <a:pt x="76173" y="103617"/>
                </a:moveTo>
                <a:cubicBezTo>
                  <a:pt x="86072" y="77067"/>
                  <a:pt x="18818" y="37380"/>
                  <a:pt x="8734" y="100194"/>
                </a:cubicBezTo>
                <a:cubicBezTo>
                  <a:pt x="-6807" y="196496"/>
                  <a:pt x="69050" y="177532"/>
                  <a:pt x="180709" y="219346"/>
                </a:cubicBezTo>
                <a:cubicBezTo>
                  <a:pt x="200321" y="101674"/>
                  <a:pt x="254716" y="45521"/>
                  <a:pt x="163502" y="10830"/>
                </a:cubicBezTo>
                <a:cubicBezTo>
                  <a:pt x="104111" y="-11834"/>
                  <a:pt x="104851" y="66336"/>
                  <a:pt x="132789" y="70961"/>
                </a:cubicBezTo>
                <a:cubicBezTo>
                  <a:pt x="135842" y="11848"/>
                  <a:pt x="217342" y="42098"/>
                  <a:pt x="189034" y="102599"/>
                </a:cubicBezTo>
                <a:cubicBezTo>
                  <a:pt x="178858" y="124246"/>
                  <a:pt x="153696" y="133775"/>
                  <a:pt x="127423" y="127114"/>
                </a:cubicBezTo>
                <a:cubicBezTo>
                  <a:pt x="120115" y="153202"/>
                  <a:pt x="99208" y="170223"/>
                  <a:pt x="75433" y="168188"/>
                </a:cubicBezTo>
                <a:cubicBezTo>
                  <a:pt x="8919" y="162453"/>
                  <a:pt x="23443" y="76697"/>
                  <a:pt x="76173" y="103617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59" name="Freeform: Shape 758">
            <a:extLst>
              <a:ext uri="{FF2B5EF4-FFF2-40B4-BE49-F238E27FC236}">
                <a16:creationId xmlns="" xmlns:a16="http://schemas.microsoft.com/office/drawing/2014/main" id="{228B2823-51DE-47C1-A0AF-40149BECB9D6}"/>
              </a:ext>
            </a:extLst>
          </p:cNvPr>
          <p:cNvSpPr/>
          <p:nvPr/>
        </p:nvSpPr>
        <p:spPr>
          <a:xfrm>
            <a:off x="661179" y="1215413"/>
            <a:ext cx="222022" cy="222022"/>
          </a:xfrm>
          <a:custGeom>
            <a:avLst/>
            <a:gdLst>
              <a:gd name="connsiteX0" fmla="*/ 75748 w 222021"/>
              <a:gd name="connsiteY0" fmla="*/ 13996 h 222021"/>
              <a:gd name="connsiteX1" fmla="*/ 90920 w 222021"/>
              <a:gd name="connsiteY1" fmla="*/ 79862 h 222021"/>
              <a:gd name="connsiteX2" fmla="*/ 154381 w 222021"/>
              <a:gd name="connsiteY2" fmla="*/ 67928 h 222021"/>
              <a:gd name="connsiteX3" fmla="*/ 122928 w 222021"/>
              <a:gd name="connsiteY3" fmla="*/ 126302 h 222021"/>
              <a:gd name="connsiteX4" fmla="*/ 109514 w 222021"/>
              <a:gd name="connsiteY4" fmla="*/ 191243 h 222021"/>
              <a:gd name="connsiteX5" fmla="*/ 68625 w 222021"/>
              <a:gd name="connsiteY5" fmla="*/ 141288 h 222021"/>
              <a:gd name="connsiteX6" fmla="*/ 14692 w 222021"/>
              <a:gd name="connsiteY6" fmla="*/ 181992 h 222021"/>
              <a:gd name="connsiteX7" fmla="*/ 223022 w 222021"/>
              <a:gd name="connsiteY7" fmla="*/ 162750 h 222021"/>
              <a:gd name="connsiteX8" fmla="*/ 75748 w 222021"/>
              <a:gd name="connsiteY8" fmla="*/ 13996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021" h="222021">
                <a:moveTo>
                  <a:pt x="75748" y="13996"/>
                </a:moveTo>
                <a:cubicBezTo>
                  <a:pt x="15710" y="34810"/>
                  <a:pt x="66497" y="94201"/>
                  <a:pt x="90920" y="79862"/>
                </a:cubicBezTo>
                <a:cubicBezTo>
                  <a:pt x="55211" y="32590"/>
                  <a:pt x="137174" y="3357"/>
                  <a:pt x="154381" y="67928"/>
                </a:cubicBezTo>
                <a:cubicBezTo>
                  <a:pt x="160486" y="91056"/>
                  <a:pt x="147350" y="114553"/>
                  <a:pt x="122928" y="126302"/>
                </a:cubicBezTo>
                <a:cubicBezTo>
                  <a:pt x="134121" y="150909"/>
                  <a:pt x="129033" y="177459"/>
                  <a:pt x="109514" y="191243"/>
                </a:cubicBezTo>
                <a:cubicBezTo>
                  <a:pt x="54934" y="229634"/>
                  <a:pt x="10899" y="154609"/>
                  <a:pt x="68625" y="141288"/>
                </a:cubicBezTo>
                <a:cubicBezTo>
                  <a:pt x="59189" y="114645"/>
                  <a:pt x="-17871" y="127412"/>
                  <a:pt x="14692" y="181992"/>
                </a:cubicBezTo>
                <a:cubicBezTo>
                  <a:pt x="64739" y="265713"/>
                  <a:pt x="110531" y="202436"/>
                  <a:pt x="223022" y="162750"/>
                </a:cubicBezTo>
                <a:cubicBezTo>
                  <a:pt x="162336" y="59880"/>
                  <a:pt x="167887" y="-18012"/>
                  <a:pt x="75748" y="13996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0" name="Freeform: Shape 759">
            <a:extLst>
              <a:ext uri="{FF2B5EF4-FFF2-40B4-BE49-F238E27FC236}">
                <a16:creationId xmlns="" xmlns:a16="http://schemas.microsoft.com/office/drawing/2014/main" id="{59F010F0-D7DE-4DF6-BFF8-C52BDD84C3A2}"/>
              </a:ext>
            </a:extLst>
          </p:cNvPr>
          <p:cNvSpPr/>
          <p:nvPr/>
        </p:nvSpPr>
        <p:spPr>
          <a:xfrm>
            <a:off x="112594" y="3964911"/>
            <a:ext cx="203520" cy="203520"/>
          </a:xfrm>
          <a:custGeom>
            <a:avLst/>
            <a:gdLst>
              <a:gd name="connsiteX0" fmla="*/ 92221 w 203519"/>
              <a:gd name="connsiteY0" fmla="*/ 202121 h 203519"/>
              <a:gd name="connsiteX1" fmla="*/ 152166 w 203519"/>
              <a:gd name="connsiteY1" fmla="*/ 201473 h 203519"/>
              <a:gd name="connsiteX2" fmla="*/ 204064 w 203519"/>
              <a:gd name="connsiteY2" fmla="*/ 203971 h 203519"/>
              <a:gd name="connsiteX3" fmla="*/ 199994 w 203519"/>
              <a:gd name="connsiteY3" fmla="*/ 58639 h 203519"/>
              <a:gd name="connsiteX4" fmla="*/ 193240 w 203519"/>
              <a:gd name="connsiteY4" fmla="*/ 37640 h 203519"/>
              <a:gd name="connsiteX5" fmla="*/ 187505 w 203519"/>
              <a:gd name="connsiteY5" fmla="*/ 29129 h 203519"/>
              <a:gd name="connsiteX6" fmla="*/ 179827 w 203519"/>
              <a:gd name="connsiteY6" fmla="*/ 21913 h 203519"/>
              <a:gd name="connsiteX7" fmla="*/ 133572 w 203519"/>
              <a:gd name="connsiteY7" fmla="*/ 7112 h 203519"/>
              <a:gd name="connsiteX8" fmla="*/ 119418 w 203519"/>
              <a:gd name="connsiteY8" fmla="*/ 73163 h 203519"/>
              <a:gd name="connsiteX9" fmla="*/ 181954 w 203519"/>
              <a:gd name="connsiteY9" fmla="*/ 89075 h 203519"/>
              <a:gd name="connsiteX10" fmla="*/ 175664 w 203519"/>
              <a:gd name="connsiteY10" fmla="*/ 105171 h 203519"/>
              <a:gd name="connsiteX11" fmla="*/ 164655 w 203519"/>
              <a:gd name="connsiteY11" fmla="*/ 116920 h 203519"/>
              <a:gd name="connsiteX12" fmla="*/ 128762 w 203519"/>
              <a:gd name="connsiteY12" fmla="*/ 128669 h 203519"/>
              <a:gd name="connsiteX13" fmla="*/ 119696 w 203519"/>
              <a:gd name="connsiteY13" fmla="*/ 160492 h 203519"/>
              <a:gd name="connsiteX14" fmla="*/ 111925 w 203519"/>
              <a:gd name="connsiteY14" fmla="*/ 170298 h 203519"/>
              <a:gd name="connsiteX15" fmla="*/ 89168 w 203519"/>
              <a:gd name="connsiteY15" fmla="*/ 181861 h 203519"/>
              <a:gd name="connsiteX16" fmla="*/ 73164 w 203519"/>
              <a:gd name="connsiteY16" fmla="*/ 119325 h 203519"/>
              <a:gd name="connsiteX17" fmla="*/ 7112 w 203519"/>
              <a:gd name="connsiteY17" fmla="*/ 133479 h 203519"/>
              <a:gd name="connsiteX18" fmla="*/ 15993 w 203519"/>
              <a:gd name="connsiteY18" fmla="*/ 169835 h 203519"/>
              <a:gd name="connsiteX19" fmla="*/ 25337 w 203519"/>
              <a:gd name="connsiteY19" fmla="*/ 183896 h 203519"/>
              <a:gd name="connsiteX20" fmla="*/ 47539 w 203519"/>
              <a:gd name="connsiteY20" fmla="*/ 197310 h 203519"/>
              <a:gd name="connsiteX21" fmla="*/ 92221 w 203519"/>
              <a:gd name="connsiteY21" fmla="*/ 202121 h 203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3519" h="203519">
                <a:moveTo>
                  <a:pt x="92221" y="202121"/>
                </a:moveTo>
                <a:cubicBezTo>
                  <a:pt x="109705" y="202213"/>
                  <a:pt x="129687" y="201288"/>
                  <a:pt x="152166" y="201473"/>
                </a:cubicBezTo>
                <a:cubicBezTo>
                  <a:pt x="168263" y="201566"/>
                  <a:pt x="185562" y="202121"/>
                  <a:pt x="204064" y="203971"/>
                </a:cubicBezTo>
                <a:cubicBezTo>
                  <a:pt x="197958" y="140880"/>
                  <a:pt x="205822" y="92035"/>
                  <a:pt x="199994" y="58639"/>
                </a:cubicBezTo>
                <a:cubicBezTo>
                  <a:pt x="198606" y="50776"/>
                  <a:pt x="196478" y="43745"/>
                  <a:pt x="193240" y="37640"/>
                </a:cubicBezTo>
                <a:cubicBezTo>
                  <a:pt x="191575" y="34587"/>
                  <a:pt x="189725" y="31719"/>
                  <a:pt x="187505" y="29129"/>
                </a:cubicBezTo>
                <a:cubicBezTo>
                  <a:pt x="185285" y="26539"/>
                  <a:pt x="182694" y="24041"/>
                  <a:pt x="179827" y="21913"/>
                </a:cubicBezTo>
                <a:cubicBezTo>
                  <a:pt x="169558" y="14235"/>
                  <a:pt x="154849" y="9239"/>
                  <a:pt x="133572" y="7112"/>
                </a:cubicBezTo>
                <a:cubicBezTo>
                  <a:pt x="70296" y="636"/>
                  <a:pt x="91296" y="75938"/>
                  <a:pt x="119418" y="73163"/>
                </a:cubicBezTo>
                <a:cubicBezTo>
                  <a:pt x="107022" y="15252"/>
                  <a:pt x="193703" y="23393"/>
                  <a:pt x="181954" y="89075"/>
                </a:cubicBezTo>
                <a:cubicBezTo>
                  <a:pt x="180937" y="94995"/>
                  <a:pt x="178717" y="100361"/>
                  <a:pt x="175664" y="105171"/>
                </a:cubicBezTo>
                <a:cubicBezTo>
                  <a:pt x="172796" y="109704"/>
                  <a:pt x="169003" y="113590"/>
                  <a:pt x="164655" y="116920"/>
                </a:cubicBezTo>
                <a:cubicBezTo>
                  <a:pt x="155219" y="124228"/>
                  <a:pt x="142638" y="128484"/>
                  <a:pt x="128762" y="128669"/>
                </a:cubicBezTo>
                <a:cubicBezTo>
                  <a:pt x="128669" y="140695"/>
                  <a:pt x="125339" y="151611"/>
                  <a:pt x="119696" y="160492"/>
                </a:cubicBezTo>
                <a:cubicBezTo>
                  <a:pt x="117476" y="164099"/>
                  <a:pt x="114885" y="167522"/>
                  <a:pt x="111925" y="170298"/>
                </a:cubicBezTo>
                <a:cubicBezTo>
                  <a:pt x="105727" y="176218"/>
                  <a:pt x="97956" y="180288"/>
                  <a:pt x="89168" y="181861"/>
                </a:cubicBezTo>
                <a:cubicBezTo>
                  <a:pt x="23394" y="193610"/>
                  <a:pt x="15253" y="106929"/>
                  <a:pt x="73164" y="119325"/>
                </a:cubicBezTo>
                <a:cubicBezTo>
                  <a:pt x="75847" y="91110"/>
                  <a:pt x="637" y="70203"/>
                  <a:pt x="7112" y="133479"/>
                </a:cubicBezTo>
                <a:cubicBezTo>
                  <a:pt x="8685" y="148651"/>
                  <a:pt x="11645" y="160492"/>
                  <a:pt x="15993" y="169835"/>
                </a:cubicBezTo>
                <a:cubicBezTo>
                  <a:pt x="18583" y="175385"/>
                  <a:pt x="21729" y="180011"/>
                  <a:pt x="25337" y="183896"/>
                </a:cubicBezTo>
                <a:cubicBezTo>
                  <a:pt x="31350" y="190280"/>
                  <a:pt x="38750" y="194535"/>
                  <a:pt x="47539" y="197310"/>
                </a:cubicBezTo>
                <a:cubicBezTo>
                  <a:pt x="59842" y="201011"/>
                  <a:pt x="74736" y="202028"/>
                  <a:pt x="92221" y="202121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1" name="Freeform: Shape 760">
            <a:extLst>
              <a:ext uri="{FF2B5EF4-FFF2-40B4-BE49-F238E27FC236}">
                <a16:creationId xmlns="" xmlns:a16="http://schemas.microsoft.com/office/drawing/2014/main" id="{62817B3F-7820-4826-A80B-2EB64C8E20E2}"/>
              </a:ext>
            </a:extLst>
          </p:cNvPr>
          <p:cNvSpPr/>
          <p:nvPr/>
        </p:nvSpPr>
        <p:spPr>
          <a:xfrm>
            <a:off x="1098618" y="3443628"/>
            <a:ext cx="222022" cy="231272"/>
          </a:xfrm>
          <a:custGeom>
            <a:avLst/>
            <a:gdLst>
              <a:gd name="connsiteX0" fmla="*/ 37485 w 222021"/>
              <a:gd name="connsiteY0" fmla="*/ 25145 h 231272"/>
              <a:gd name="connsiteX1" fmla="*/ 69123 w 222021"/>
              <a:gd name="connsiteY1" fmla="*/ 84814 h 231272"/>
              <a:gd name="connsiteX2" fmla="*/ 127312 w 222021"/>
              <a:gd name="connsiteY2" fmla="*/ 56876 h 231272"/>
              <a:gd name="connsiteX3" fmla="*/ 130920 w 222021"/>
              <a:gd name="connsiteY3" fmla="*/ 64832 h 231272"/>
              <a:gd name="connsiteX4" fmla="*/ 133140 w 222021"/>
              <a:gd name="connsiteY4" fmla="*/ 81669 h 231272"/>
              <a:gd name="connsiteX5" fmla="*/ 112048 w 222021"/>
              <a:gd name="connsiteY5" fmla="*/ 121262 h 231272"/>
              <a:gd name="connsiteX6" fmla="*/ 126109 w 222021"/>
              <a:gd name="connsiteY6" fmla="*/ 155306 h 231272"/>
              <a:gd name="connsiteX7" fmla="*/ 124074 w 222021"/>
              <a:gd name="connsiteY7" fmla="*/ 172327 h 231272"/>
              <a:gd name="connsiteX8" fmla="*/ 115748 w 222021"/>
              <a:gd name="connsiteY8" fmla="*/ 187499 h 231272"/>
              <a:gd name="connsiteX9" fmla="*/ 63295 w 222021"/>
              <a:gd name="connsiteY9" fmla="*/ 149848 h 231272"/>
              <a:gd name="connsiteX10" fmla="*/ 21759 w 222021"/>
              <a:gd name="connsiteY10" fmla="*/ 203133 h 231272"/>
              <a:gd name="connsiteX11" fmla="*/ 78467 w 222021"/>
              <a:gd name="connsiteY11" fmla="*/ 230053 h 231272"/>
              <a:gd name="connsiteX12" fmla="*/ 88643 w 222021"/>
              <a:gd name="connsiteY12" fmla="*/ 227925 h 231272"/>
              <a:gd name="connsiteX13" fmla="*/ 114545 w 222021"/>
              <a:gd name="connsiteY13" fmla="*/ 214141 h 231272"/>
              <a:gd name="connsiteX14" fmla="*/ 217971 w 222021"/>
              <a:gd name="connsiteY14" fmla="*/ 130698 h 231272"/>
              <a:gd name="connsiteX15" fmla="*/ 126017 w 222021"/>
              <a:gd name="connsiteY15" fmla="*/ 26071 h 231272"/>
              <a:gd name="connsiteX16" fmla="*/ 107515 w 222021"/>
              <a:gd name="connsiteY16" fmla="*/ 12472 h 231272"/>
              <a:gd name="connsiteX17" fmla="*/ 37485 w 222021"/>
              <a:gd name="connsiteY17" fmla="*/ 25145 h 2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2021" h="231272">
                <a:moveTo>
                  <a:pt x="37485" y="25145"/>
                </a:moveTo>
                <a:cubicBezTo>
                  <a:pt x="-15152" y="60854"/>
                  <a:pt x="49327" y="104981"/>
                  <a:pt x="69123" y="84814"/>
                </a:cubicBezTo>
                <a:cubicBezTo>
                  <a:pt x="22406" y="48365"/>
                  <a:pt x="94008" y="-1035"/>
                  <a:pt x="127312" y="56876"/>
                </a:cubicBezTo>
                <a:cubicBezTo>
                  <a:pt x="128792" y="59466"/>
                  <a:pt x="129994" y="62149"/>
                  <a:pt x="130920" y="64832"/>
                </a:cubicBezTo>
                <a:cubicBezTo>
                  <a:pt x="132770" y="70290"/>
                  <a:pt x="133510" y="76025"/>
                  <a:pt x="133140" y="81669"/>
                </a:cubicBezTo>
                <a:cubicBezTo>
                  <a:pt x="132307" y="95915"/>
                  <a:pt x="124906" y="110254"/>
                  <a:pt x="112048" y="121262"/>
                </a:cubicBezTo>
                <a:cubicBezTo>
                  <a:pt x="120651" y="131716"/>
                  <a:pt x="125462" y="143649"/>
                  <a:pt x="126109" y="155306"/>
                </a:cubicBezTo>
                <a:cubicBezTo>
                  <a:pt x="126479" y="161134"/>
                  <a:pt x="125831" y="166869"/>
                  <a:pt x="124074" y="172327"/>
                </a:cubicBezTo>
                <a:cubicBezTo>
                  <a:pt x="122409" y="177785"/>
                  <a:pt x="119633" y="182873"/>
                  <a:pt x="115748" y="187499"/>
                </a:cubicBezTo>
                <a:cubicBezTo>
                  <a:pt x="72916" y="238749"/>
                  <a:pt x="11028" y="177600"/>
                  <a:pt x="63295" y="149848"/>
                </a:cubicBezTo>
                <a:cubicBezTo>
                  <a:pt x="47291" y="126535"/>
                  <a:pt x="-23848" y="158821"/>
                  <a:pt x="21759" y="203133"/>
                </a:cubicBezTo>
                <a:cubicBezTo>
                  <a:pt x="43591" y="224410"/>
                  <a:pt x="61353" y="231810"/>
                  <a:pt x="78467" y="230053"/>
                </a:cubicBezTo>
                <a:cubicBezTo>
                  <a:pt x="81890" y="229683"/>
                  <a:pt x="85313" y="228943"/>
                  <a:pt x="88643" y="227925"/>
                </a:cubicBezTo>
                <a:cubicBezTo>
                  <a:pt x="97154" y="225242"/>
                  <a:pt x="105572" y="220432"/>
                  <a:pt x="114545" y="214141"/>
                </a:cubicBezTo>
                <a:cubicBezTo>
                  <a:pt x="141280" y="195177"/>
                  <a:pt x="171901" y="162336"/>
                  <a:pt x="217971" y="130698"/>
                </a:cubicBezTo>
                <a:cubicBezTo>
                  <a:pt x="175416" y="88884"/>
                  <a:pt x="150439" y="48828"/>
                  <a:pt x="126017" y="26071"/>
                </a:cubicBezTo>
                <a:cubicBezTo>
                  <a:pt x="119911" y="20335"/>
                  <a:pt x="113805" y="15802"/>
                  <a:pt x="107515" y="12472"/>
                </a:cubicBezTo>
                <a:cubicBezTo>
                  <a:pt x="88828" y="2573"/>
                  <a:pt x="67828" y="4608"/>
                  <a:pt x="37485" y="25145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2" name="Freeform: Shape 761">
            <a:extLst>
              <a:ext uri="{FF2B5EF4-FFF2-40B4-BE49-F238E27FC236}">
                <a16:creationId xmlns="" xmlns:a16="http://schemas.microsoft.com/office/drawing/2014/main" id="{249921C0-2C31-404B-A5D5-BEC7A187D24E}"/>
              </a:ext>
            </a:extLst>
          </p:cNvPr>
          <p:cNvSpPr/>
          <p:nvPr/>
        </p:nvSpPr>
        <p:spPr>
          <a:xfrm>
            <a:off x="1485124" y="2448050"/>
            <a:ext cx="222022" cy="212771"/>
          </a:xfrm>
          <a:custGeom>
            <a:avLst/>
            <a:gdLst>
              <a:gd name="connsiteX0" fmla="*/ 72080 w 222021"/>
              <a:gd name="connsiteY0" fmla="*/ 88603 h 212770"/>
              <a:gd name="connsiteX1" fmla="*/ 98631 w 222021"/>
              <a:gd name="connsiteY1" fmla="*/ 29767 h 212770"/>
              <a:gd name="connsiteX2" fmla="*/ 106494 w 222021"/>
              <a:gd name="connsiteY2" fmla="*/ 33560 h 212770"/>
              <a:gd name="connsiteX3" fmla="*/ 128326 w 222021"/>
              <a:gd name="connsiteY3" fmla="*/ 88973 h 212770"/>
              <a:gd name="connsiteX4" fmla="*/ 160982 w 222021"/>
              <a:gd name="connsiteY4" fmla="*/ 105994 h 212770"/>
              <a:gd name="connsiteX5" fmla="*/ 162092 w 222021"/>
              <a:gd name="connsiteY5" fmla="*/ 107382 h 212770"/>
              <a:gd name="connsiteX6" fmla="*/ 167735 w 222021"/>
              <a:gd name="connsiteY6" fmla="*/ 115338 h 212770"/>
              <a:gd name="connsiteX7" fmla="*/ 172823 w 222021"/>
              <a:gd name="connsiteY7" fmla="*/ 128474 h 212770"/>
              <a:gd name="connsiteX8" fmla="*/ 173655 w 222021"/>
              <a:gd name="connsiteY8" fmla="*/ 137170 h 212770"/>
              <a:gd name="connsiteX9" fmla="*/ 109269 w 222021"/>
              <a:gd name="connsiteY9" fmla="*/ 142073 h 212770"/>
              <a:gd name="connsiteX10" fmla="*/ 111674 w 222021"/>
              <a:gd name="connsiteY10" fmla="*/ 209604 h 212770"/>
              <a:gd name="connsiteX11" fmla="*/ 172453 w 222021"/>
              <a:gd name="connsiteY11" fmla="*/ 193785 h 212770"/>
              <a:gd name="connsiteX12" fmla="*/ 178836 w 222021"/>
              <a:gd name="connsiteY12" fmla="*/ 185552 h 212770"/>
              <a:gd name="connsiteX13" fmla="*/ 196043 w 222021"/>
              <a:gd name="connsiteY13" fmla="*/ 127179 h 212770"/>
              <a:gd name="connsiteX14" fmla="*/ 197523 w 222021"/>
              <a:gd name="connsiteY14" fmla="*/ 118113 h 212770"/>
              <a:gd name="connsiteX15" fmla="*/ 200298 w 222021"/>
              <a:gd name="connsiteY15" fmla="*/ 100814 h 212770"/>
              <a:gd name="connsiteX16" fmla="*/ 205848 w 222021"/>
              <a:gd name="connsiteY16" fmla="*/ 68991 h 212770"/>
              <a:gd name="connsiteX17" fmla="*/ 215469 w 222021"/>
              <a:gd name="connsiteY17" fmla="*/ 27917 h 212770"/>
              <a:gd name="connsiteX18" fmla="*/ 44883 w 222021"/>
              <a:gd name="connsiteY18" fmla="*/ 11543 h 212770"/>
              <a:gd name="connsiteX19" fmla="*/ 9174 w 222021"/>
              <a:gd name="connsiteY19" fmla="*/ 63163 h 212770"/>
              <a:gd name="connsiteX20" fmla="*/ 72080 w 222021"/>
              <a:gd name="connsiteY20" fmla="*/ 88603 h 212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22021" h="212770">
                <a:moveTo>
                  <a:pt x="72080" y="88603"/>
                </a:moveTo>
                <a:cubicBezTo>
                  <a:pt x="12875" y="90730"/>
                  <a:pt x="35909" y="6825"/>
                  <a:pt x="98631" y="29767"/>
                </a:cubicBezTo>
                <a:cubicBezTo>
                  <a:pt x="101406" y="30785"/>
                  <a:pt x="104089" y="32080"/>
                  <a:pt x="106494" y="33560"/>
                </a:cubicBezTo>
                <a:cubicBezTo>
                  <a:pt x="123701" y="44106"/>
                  <a:pt x="132211" y="65568"/>
                  <a:pt x="128326" y="88973"/>
                </a:cubicBezTo>
                <a:cubicBezTo>
                  <a:pt x="141647" y="91471"/>
                  <a:pt x="152933" y="97576"/>
                  <a:pt x="160982" y="105994"/>
                </a:cubicBezTo>
                <a:cubicBezTo>
                  <a:pt x="161352" y="106457"/>
                  <a:pt x="161722" y="106919"/>
                  <a:pt x="162092" y="107382"/>
                </a:cubicBezTo>
                <a:cubicBezTo>
                  <a:pt x="164312" y="109880"/>
                  <a:pt x="166162" y="112563"/>
                  <a:pt x="167735" y="115338"/>
                </a:cubicBezTo>
                <a:cubicBezTo>
                  <a:pt x="170047" y="119408"/>
                  <a:pt x="171898" y="123756"/>
                  <a:pt x="172823" y="128474"/>
                </a:cubicBezTo>
                <a:cubicBezTo>
                  <a:pt x="173378" y="131342"/>
                  <a:pt x="173655" y="134210"/>
                  <a:pt x="173655" y="137170"/>
                </a:cubicBezTo>
                <a:cubicBezTo>
                  <a:pt x="173748" y="203961"/>
                  <a:pt x="87067" y="196931"/>
                  <a:pt x="109269" y="142073"/>
                </a:cubicBezTo>
                <a:cubicBezTo>
                  <a:pt x="81979" y="134487"/>
                  <a:pt x="48306" y="204979"/>
                  <a:pt x="111674" y="209604"/>
                </a:cubicBezTo>
                <a:cubicBezTo>
                  <a:pt x="142110" y="211825"/>
                  <a:pt x="160519" y="206089"/>
                  <a:pt x="172453" y="193785"/>
                </a:cubicBezTo>
                <a:cubicBezTo>
                  <a:pt x="174858" y="191288"/>
                  <a:pt x="176986" y="188605"/>
                  <a:pt x="178836" y="185552"/>
                </a:cubicBezTo>
                <a:cubicBezTo>
                  <a:pt x="187809" y="171491"/>
                  <a:pt x="191972" y="151694"/>
                  <a:pt x="196043" y="127179"/>
                </a:cubicBezTo>
                <a:cubicBezTo>
                  <a:pt x="196505" y="124219"/>
                  <a:pt x="196968" y="121166"/>
                  <a:pt x="197523" y="118113"/>
                </a:cubicBezTo>
                <a:cubicBezTo>
                  <a:pt x="198355" y="112563"/>
                  <a:pt x="199280" y="106734"/>
                  <a:pt x="200298" y="100814"/>
                </a:cubicBezTo>
                <a:cubicBezTo>
                  <a:pt x="201871" y="90730"/>
                  <a:pt x="203721" y="80184"/>
                  <a:pt x="205848" y="68991"/>
                </a:cubicBezTo>
                <a:cubicBezTo>
                  <a:pt x="208439" y="55947"/>
                  <a:pt x="211491" y="42256"/>
                  <a:pt x="215469" y="27917"/>
                </a:cubicBezTo>
                <a:cubicBezTo>
                  <a:pt x="133692" y="21534"/>
                  <a:pt x="79481" y="-3721"/>
                  <a:pt x="44883" y="11543"/>
                </a:cubicBezTo>
                <a:cubicBezTo>
                  <a:pt x="29156" y="18481"/>
                  <a:pt x="17500" y="33837"/>
                  <a:pt x="9174" y="63163"/>
                </a:cubicBezTo>
                <a:cubicBezTo>
                  <a:pt x="-7940" y="124404"/>
                  <a:pt x="69860" y="116818"/>
                  <a:pt x="72080" y="88603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3" name="Freeform: Shape 762">
            <a:extLst>
              <a:ext uri="{FF2B5EF4-FFF2-40B4-BE49-F238E27FC236}">
                <a16:creationId xmlns="" xmlns:a16="http://schemas.microsoft.com/office/drawing/2014/main" id="{D177F5DD-F29B-4612-AA12-AE6F2B09EF8F}"/>
              </a:ext>
            </a:extLst>
          </p:cNvPr>
          <p:cNvSpPr/>
          <p:nvPr/>
        </p:nvSpPr>
        <p:spPr>
          <a:xfrm>
            <a:off x="1136352" y="1381067"/>
            <a:ext cx="231273" cy="222022"/>
          </a:xfrm>
          <a:custGeom>
            <a:avLst/>
            <a:gdLst>
              <a:gd name="connsiteX0" fmla="*/ 9095 w 231272"/>
              <a:gd name="connsiteY0" fmla="*/ 143538 h 222021"/>
              <a:gd name="connsiteX1" fmla="*/ 17328 w 231272"/>
              <a:gd name="connsiteY1" fmla="*/ 166387 h 222021"/>
              <a:gd name="connsiteX2" fmla="*/ 81622 w 231272"/>
              <a:gd name="connsiteY2" fmla="*/ 145573 h 222021"/>
              <a:gd name="connsiteX3" fmla="*/ 64138 w 231272"/>
              <a:gd name="connsiteY3" fmla="*/ 83407 h 222021"/>
              <a:gd name="connsiteX4" fmla="*/ 89670 w 231272"/>
              <a:gd name="connsiteY4" fmla="*/ 82019 h 222021"/>
              <a:gd name="connsiteX5" fmla="*/ 125009 w 231272"/>
              <a:gd name="connsiteY5" fmla="*/ 109679 h 222021"/>
              <a:gd name="connsiteX6" fmla="*/ 152114 w 231272"/>
              <a:gd name="connsiteY6" fmla="*/ 101446 h 222021"/>
              <a:gd name="connsiteX7" fmla="*/ 169413 w 231272"/>
              <a:gd name="connsiteY7" fmla="*/ 103389 h 222021"/>
              <a:gd name="connsiteX8" fmla="*/ 190783 w 231272"/>
              <a:gd name="connsiteY8" fmla="*/ 117358 h 222021"/>
              <a:gd name="connsiteX9" fmla="*/ 144621 w 231272"/>
              <a:gd name="connsiteY9" fmla="*/ 162409 h 222021"/>
              <a:gd name="connsiteX10" fmla="*/ 189858 w 231272"/>
              <a:gd name="connsiteY10" fmla="*/ 212549 h 222021"/>
              <a:gd name="connsiteX11" fmla="*/ 222513 w 231272"/>
              <a:gd name="connsiteY11" fmla="*/ 176563 h 222021"/>
              <a:gd name="connsiteX12" fmla="*/ 225566 w 231272"/>
              <a:gd name="connsiteY12" fmla="*/ 166480 h 222021"/>
              <a:gd name="connsiteX13" fmla="*/ 226214 w 231272"/>
              <a:gd name="connsiteY13" fmla="*/ 161392 h 222021"/>
              <a:gd name="connsiteX14" fmla="*/ 225844 w 231272"/>
              <a:gd name="connsiteY14" fmla="*/ 150938 h 222021"/>
              <a:gd name="connsiteX15" fmla="*/ 224641 w 231272"/>
              <a:gd name="connsiteY15" fmla="*/ 144463 h 222021"/>
              <a:gd name="connsiteX16" fmla="*/ 222143 w 231272"/>
              <a:gd name="connsiteY16" fmla="*/ 135952 h 222021"/>
              <a:gd name="connsiteX17" fmla="*/ 216778 w 231272"/>
              <a:gd name="connsiteY17" fmla="*/ 123001 h 222021"/>
              <a:gd name="connsiteX18" fmla="*/ 201421 w 231272"/>
              <a:gd name="connsiteY18" fmla="*/ 95063 h 222021"/>
              <a:gd name="connsiteX19" fmla="*/ 188100 w 231272"/>
              <a:gd name="connsiteY19" fmla="*/ 72861 h 222021"/>
              <a:gd name="connsiteX20" fmla="*/ 168303 w 231272"/>
              <a:gd name="connsiteY20" fmla="*/ 38262 h 222021"/>
              <a:gd name="connsiteX21" fmla="*/ 162012 w 231272"/>
              <a:gd name="connsiteY21" fmla="*/ 26329 h 222021"/>
              <a:gd name="connsiteX22" fmla="*/ 152576 w 231272"/>
              <a:gd name="connsiteY22" fmla="*/ 6717 h 222021"/>
              <a:gd name="connsiteX23" fmla="*/ 28799 w 231272"/>
              <a:gd name="connsiteY23" fmla="*/ 82944 h 222021"/>
              <a:gd name="connsiteX24" fmla="*/ 20474 w 231272"/>
              <a:gd name="connsiteY24" fmla="*/ 90808 h 222021"/>
              <a:gd name="connsiteX25" fmla="*/ 11500 w 231272"/>
              <a:gd name="connsiteY25" fmla="*/ 103759 h 222021"/>
              <a:gd name="connsiteX26" fmla="*/ 6967 w 231272"/>
              <a:gd name="connsiteY26" fmla="*/ 130401 h 222021"/>
              <a:gd name="connsiteX27" fmla="*/ 9095 w 231272"/>
              <a:gd name="connsiteY27" fmla="*/ 143538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31272" h="222021">
                <a:moveTo>
                  <a:pt x="9095" y="143538"/>
                </a:moveTo>
                <a:cubicBezTo>
                  <a:pt x="10853" y="150476"/>
                  <a:pt x="13535" y="158061"/>
                  <a:pt x="17328" y="166387"/>
                </a:cubicBezTo>
                <a:cubicBezTo>
                  <a:pt x="43323" y="224391"/>
                  <a:pt x="98089" y="168607"/>
                  <a:pt x="81622" y="145573"/>
                </a:cubicBezTo>
                <a:cubicBezTo>
                  <a:pt x="37680" y="185259"/>
                  <a:pt x="1417" y="106164"/>
                  <a:pt x="64138" y="83407"/>
                </a:cubicBezTo>
                <a:cubicBezTo>
                  <a:pt x="72556" y="80354"/>
                  <a:pt x="81345" y="79984"/>
                  <a:pt x="89670" y="82019"/>
                </a:cubicBezTo>
                <a:cubicBezTo>
                  <a:pt x="103547" y="85349"/>
                  <a:pt x="116405" y="95063"/>
                  <a:pt x="125009" y="109679"/>
                </a:cubicBezTo>
                <a:cubicBezTo>
                  <a:pt x="133890" y="104684"/>
                  <a:pt x="143141" y="102001"/>
                  <a:pt x="152114" y="101446"/>
                </a:cubicBezTo>
                <a:cubicBezTo>
                  <a:pt x="158127" y="101076"/>
                  <a:pt x="163955" y="101724"/>
                  <a:pt x="169413" y="103389"/>
                </a:cubicBezTo>
                <a:cubicBezTo>
                  <a:pt x="177646" y="105886"/>
                  <a:pt x="185047" y="110512"/>
                  <a:pt x="190783" y="117358"/>
                </a:cubicBezTo>
                <a:cubicBezTo>
                  <a:pt x="233799" y="168423"/>
                  <a:pt x="162845" y="218840"/>
                  <a:pt x="144621" y="162409"/>
                </a:cubicBezTo>
                <a:cubicBezTo>
                  <a:pt x="118903" y="174158"/>
                  <a:pt x="138330" y="249831"/>
                  <a:pt x="189858" y="212549"/>
                </a:cubicBezTo>
                <a:cubicBezTo>
                  <a:pt x="207157" y="200061"/>
                  <a:pt x="217425" y="188404"/>
                  <a:pt x="222513" y="176563"/>
                </a:cubicBezTo>
                <a:cubicBezTo>
                  <a:pt x="223993" y="173233"/>
                  <a:pt x="224918" y="169810"/>
                  <a:pt x="225566" y="166480"/>
                </a:cubicBezTo>
                <a:cubicBezTo>
                  <a:pt x="225844" y="164815"/>
                  <a:pt x="226121" y="163057"/>
                  <a:pt x="226214" y="161392"/>
                </a:cubicBezTo>
                <a:cubicBezTo>
                  <a:pt x="226491" y="157969"/>
                  <a:pt x="226306" y="154454"/>
                  <a:pt x="225844" y="150938"/>
                </a:cubicBezTo>
                <a:cubicBezTo>
                  <a:pt x="225566" y="148811"/>
                  <a:pt x="225103" y="146683"/>
                  <a:pt x="224641" y="144463"/>
                </a:cubicBezTo>
                <a:cubicBezTo>
                  <a:pt x="223993" y="141687"/>
                  <a:pt x="223161" y="138820"/>
                  <a:pt x="222143" y="135952"/>
                </a:cubicBezTo>
                <a:cubicBezTo>
                  <a:pt x="220663" y="131789"/>
                  <a:pt x="218905" y="127441"/>
                  <a:pt x="216778" y="123001"/>
                </a:cubicBezTo>
                <a:cubicBezTo>
                  <a:pt x="212615" y="114305"/>
                  <a:pt x="207342" y="105054"/>
                  <a:pt x="201421" y="95063"/>
                </a:cubicBezTo>
                <a:cubicBezTo>
                  <a:pt x="197258" y="88032"/>
                  <a:pt x="192725" y="80631"/>
                  <a:pt x="188100" y="72861"/>
                </a:cubicBezTo>
                <a:cubicBezTo>
                  <a:pt x="181717" y="62222"/>
                  <a:pt x="174964" y="50751"/>
                  <a:pt x="168303" y="38262"/>
                </a:cubicBezTo>
                <a:cubicBezTo>
                  <a:pt x="166175" y="34377"/>
                  <a:pt x="164140" y="30399"/>
                  <a:pt x="162012" y="26329"/>
                </a:cubicBezTo>
                <a:cubicBezTo>
                  <a:pt x="158867" y="20038"/>
                  <a:pt x="155629" y="13562"/>
                  <a:pt x="152576" y="6717"/>
                </a:cubicBezTo>
                <a:cubicBezTo>
                  <a:pt x="101049" y="43535"/>
                  <a:pt x="54794" y="61205"/>
                  <a:pt x="28799" y="82944"/>
                </a:cubicBezTo>
                <a:cubicBezTo>
                  <a:pt x="25747" y="85534"/>
                  <a:pt x="22971" y="88125"/>
                  <a:pt x="20474" y="90808"/>
                </a:cubicBezTo>
                <a:cubicBezTo>
                  <a:pt x="16773" y="94878"/>
                  <a:pt x="13720" y="99133"/>
                  <a:pt x="11500" y="103759"/>
                </a:cubicBezTo>
                <a:cubicBezTo>
                  <a:pt x="7707" y="111437"/>
                  <a:pt x="6042" y="120133"/>
                  <a:pt x="6967" y="130401"/>
                </a:cubicBezTo>
                <a:cubicBezTo>
                  <a:pt x="7152" y="134564"/>
                  <a:pt x="7892" y="138912"/>
                  <a:pt x="9095" y="143538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4" name="Freeform: Shape 763">
            <a:extLst>
              <a:ext uri="{FF2B5EF4-FFF2-40B4-BE49-F238E27FC236}">
                <a16:creationId xmlns="" xmlns:a16="http://schemas.microsoft.com/office/drawing/2014/main" id="{8889704C-9C50-4133-BDB9-05CE3ABB91FF}"/>
              </a:ext>
            </a:extLst>
          </p:cNvPr>
          <p:cNvSpPr/>
          <p:nvPr/>
        </p:nvSpPr>
        <p:spPr>
          <a:xfrm>
            <a:off x="220052" y="812137"/>
            <a:ext cx="222022" cy="222022"/>
          </a:xfrm>
          <a:custGeom>
            <a:avLst/>
            <a:gdLst>
              <a:gd name="connsiteX0" fmla="*/ 7242 w 222021"/>
              <a:gd name="connsiteY0" fmla="*/ 166850 h 222021"/>
              <a:gd name="connsiteX1" fmla="*/ 52849 w 222021"/>
              <a:gd name="connsiteY1" fmla="*/ 216065 h 222021"/>
              <a:gd name="connsiteX2" fmla="*/ 88743 w 222021"/>
              <a:gd name="connsiteY2" fmla="*/ 158802 h 222021"/>
              <a:gd name="connsiteX3" fmla="*/ 35457 w 222021"/>
              <a:gd name="connsiteY3" fmla="*/ 122446 h 222021"/>
              <a:gd name="connsiteX4" fmla="*/ 40545 w 222021"/>
              <a:gd name="connsiteY4" fmla="*/ 115322 h 222021"/>
              <a:gd name="connsiteX5" fmla="*/ 98919 w 222021"/>
              <a:gd name="connsiteY5" fmla="*/ 103389 h 222021"/>
              <a:gd name="connsiteX6" fmla="*/ 114460 w 222021"/>
              <a:gd name="connsiteY6" fmla="*/ 79706 h 222021"/>
              <a:gd name="connsiteX7" fmla="*/ 117328 w 222021"/>
              <a:gd name="connsiteY7" fmla="*/ 77394 h 222021"/>
              <a:gd name="connsiteX8" fmla="*/ 145636 w 222021"/>
              <a:gd name="connsiteY8" fmla="*/ 66293 h 222021"/>
              <a:gd name="connsiteX9" fmla="*/ 154424 w 222021"/>
              <a:gd name="connsiteY9" fmla="*/ 66940 h 222021"/>
              <a:gd name="connsiteX10" fmla="*/ 148041 w 222021"/>
              <a:gd name="connsiteY10" fmla="*/ 131141 h 222021"/>
              <a:gd name="connsiteX11" fmla="*/ 214925 w 222021"/>
              <a:gd name="connsiteY11" fmla="*/ 140485 h 222021"/>
              <a:gd name="connsiteX12" fmla="*/ 212612 w 222021"/>
              <a:gd name="connsiteY12" fmla="*/ 82204 h 222021"/>
              <a:gd name="connsiteX13" fmla="*/ 206507 w 222021"/>
              <a:gd name="connsiteY13" fmla="*/ 73878 h 222021"/>
              <a:gd name="connsiteX14" fmla="*/ 198643 w 222021"/>
              <a:gd name="connsiteY14" fmla="*/ 66663 h 222021"/>
              <a:gd name="connsiteX15" fmla="*/ 192168 w 222021"/>
              <a:gd name="connsiteY15" fmla="*/ 62222 h 222021"/>
              <a:gd name="connsiteX16" fmla="*/ 183749 w 222021"/>
              <a:gd name="connsiteY16" fmla="*/ 57412 h 222021"/>
              <a:gd name="connsiteX17" fmla="*/ 175331 w 222021"/>
              <a:gd name="connsiteY17" fmla="*/ 53434 h 222021"/>
              <a:gd name="connsiteX18" fmla="*/ 161085 w 222021"/>
              <a:gd name="connsiteY18" fmla="*/ 47698 h 222021"/>
              <a:gd name="connsiteX19" fmla="*/ 155904 w 222021"/>
              <a:gd name="connsiteY19" fmla="*/ 45756 h 222021"/>
              <a:gd name="connsiteX20" fmla="*/ 53959 w 222021"/>
              <a:gd name="connsiteY20" fmla="*/ 6717 h 222021"/>
              <a:gd name="connsiteX21" fmla="*/ 9370 w 222021"/>
              <a:gd name="connsiteY21" fmla="*/ 138727 h 222021"/>
              <a:gd name="connsiteX22" fmla="*/ 7242 w 222021"/>
              <a:gd name="connsiteY22" fmla="*/ 166850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22021" h="222021">
                <a:moveTo>
                  <a:pt x="7242" y="166850"/>
                </a:moveTo>
                <a:cubicBezTo>
                  <a:pt x="9832" y="185814"/>
                  <a:pt x="22691" y="201448"/>
                  <a:pt x="52849" y="216065"/>
                </a:cubicBezTo>
                <a:cubicBezTo>
                  <a:pt x="110020" y="243817"/>
                  <a:pt x="116125" y="165925"/>
                  <a:pt x="88743" y="158802"/>
                </a:cubicBezTo>
                <a:cubicBezTo>
                  <a:pt x="80602" y="217452"/>
                  <a:pt x="1969" y="180171"/>
                  <a:pt x="35457" y="122446"/>
                </a:cubicBezTo>
                <a:cubicBezTo>
                  <a:pt x="36938" y="119855"/>
                  <a:pt x="38695" y="117450"/>
                  <a:pt x="40545" y="115322"/>
                </a:cubicBezTo>
                <a:cubicBezTo>
                  <a:pt x="53867" y="100151"/>
                  <a:pt x="76624" y="95525"/>
                  <a:pt x="98919" y="103389"/>
                </a:cubicBezTo>
                <a:cubicBezTo>
                  <a:pt x="102526" y="93860"/>
                  <a:pt x="107892" y="85812"/>
                  <a:pt x="114460" y="79706"/>
                </a:cubicBezTo>
                <a:cubicBezTo>
                  <a:pt x="115385" y="78874"/>
                  <a:pt x="116403" y="78226"/>
                  <a:pt x="117328" y="77394"/>
                </a:cubicBezTo>
                <a:cubicBezTo>
                  <a:pt x="125561" y="70640"/>
                  <a:pt x="135275" y="66570"/>
                  <a:pt x="145636" y="66293"/>
                </a:cubicBezTo>
                <a:cubicBezTo>
                  <a:pt x="148503" y="66200"/>
                  <a:pt x="151464" y="66478"/>
                  <a:pt x="154424" y="66940"/>
                </a:cubicBezTo>
                <a:cubicBezTo>
                  <a:pt x="220198" y="78411"/>
                  <a:pt x="198273" y="162594"/>
                  <a:pt x="148041" y="131141"/>
                </a:cubicBezTo>
                <a:cubicBezTo>
                  <a:pt x="135830" y="156674"/>
                  <a:pt x="199383" y="202096"/>
                  <a:pt x="214925" y="140485"/>
                </a:cubicBezTo>
                <a:cubicBezTo>
                  <a:pt x="221678" y="113842"/>
                  <a:pt x="220383" y="95710"/>
                  <a:pt x="212612" y="82204"/>
                </a:cubicBezTo>
                <a:cubicBezTo>
                  <a:pt x="210947" y="79244"/>
                  <a:pt x="208912" y="76469"/>
                  <a:pt x="206507" y="73878"/>
                </a:cubicBezTo>
                <a:cubicBezTo>
                  <a:pt x="204194" y="71288"/>
                  <a:pt x="201511" y="68883"/>
                  <a:pt x="198643" y="66663"/>
                </a:cubicBezTo>
                <a:cubicBezTo>
                  <a:pt x="196608" y="65090"/>
                  <a:pt x="194388" y="63610"/>
                  <a:pt x="192168" y="62222"/>
                </a:cubicBezTo>
                <a:cubicBezTo>
                  <a:pt x="189485" y="60557"/>
                  <a:pt x="186710" y="58984"/>
                  <a:pt x="183749" y="57412"/>
                </a:cubicBezTo>
                <a:cubicBezTo>
                  <a:pt x="181067" y="56024"/>
                  <a:pt x="178199" y="54729"/>
                  <a:pt x="175331" y="53434"/>
                </a:cubicBezTo>
                <a:cubicBezTo>
                  <a:pt x="170891" y="51491"/>
                  <a:pt x="166173" y="49548"/>
                  <a:pt x="161085" y="47698"/>
                </a:cubicBezTo>
                <a:cubicBezTo>
                  <a:pt x="159420" y="47051"/>
                  <a:pt x="157662" y="46403"/>
                  <a:pt x="155904" y="45756"/>
                </a:cubicBezTo>
                <a:cubicBezTo>
                  <a:pt x="128244" y="35672"/>
                  <a:pt x="93091" y="25404"/>
                  <a:pt x="53959" y="6717"/>
                </a:cubicBezTo>
                <a:cubicBezTo>
                  <a:pt x="39065" y="64442"/>
                  <a:pt x="16863" y="106164"/>
                  <a:pt x="9370" y="138727"/>
                </a:cubicBezTo>
                <a:cubicBezTo>
                  <a:pt x="6965" y="148996"/>
                  <a:pt x="6040" y="158246"/>
                  <a:pt x="7242" y="166850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5" name="Freeform: Shape 764">
            <a:extLst>
              <a:ext uri="{FF2B5EF4-FFF2-40B4-BE49-F238E27FC236}">
                <a16:creationId xmlns="" xmlns:a16="http://schemas.microsoft.com/office/drawing/2014/main" id="{6D1D1261-18C2-4453-A495-86AA42AC0BB4}"/>
              </a:ext>
            </a:extLst>
          </p:cNvPr>
          <p:cNvSpPr/>
          <p:nvPr/>
        </p:nvSpPr>
        <p:spPr>
          <a:xfrm>
            <a:off x="725151" y="3763303"/>
            <a:ext cx="231273" cy="222022"/>
          </a:xfrm>
          <a:custGeom>
            <a:avLst/>
            <a:gdLst>
              <a:gd name="connsiteX0" fmla="*/ 152297 w 231272"/>
              <a:gd name="connsiteY0" fmla="*/ 69123 h 222021"/>
              <a:gd name="connsiteX1" fmla="*/ 180235 w 231272"/>
              <a:gd name="connsiteY1" fmla="*/ 127312 h 222021"/>
              <a:gd name="connsiteX2" fmla="*/ 172279 w 231272"/>
              <a:gd name="connsiteY2" fmla="*/ 130920 h 222021"/>
              <a:gd name="connsiteX3" fmla="*/ 148134 w 231272"/>
              <a:gd name="connsiteY3" fmla="*/ 132030 h 222021"/>
              <a:gd name="connsiteX4" fmla="*/ 115756 w 231272"/>
              <a:gd name="connsiteY4" fmla="*/ 112048 h 222021"/>
              <a:gd name="connsiteX5" fmla="*/ 81713 w 231272"/>
              <a:gd name="connsiteY5" fmla="*/ 126109 h 222021"/>
              <a:gd name="connsiteX6" fmla="*/ 64691 w 231272"/>
              <a:gd name="connsiteY6" fmla="*/ 124074 h 222021"/>
              <a:gd name="connsiteX7" fmla="*/ 49520 w 231272"/>
              <a:gd name="connsiteY7" fmla="*/ 115748 h 222021"/>
              <a:gd name="connsiteX8" fmla="*/ 87171 w 231272"/>
              <a:gd name="connsiteY8" fmla="*/ 63296 h 222021"/>
              <a:gd name="connsiteX9" fmla="*/ 33886 w 231272"/>
              <a:gd name="connsiteY9" fmla="*/ 21759 h 222021"/>
              <a:gd name="connsiteX10" fmla="*/ 6966 w 231272"/>
              <a:gd name="connsiteY10" fmla="*/ 78467 h 222021"/>
              <a:gd name="connsiteX11" fmla="*/ 11036 w 231272"/>
              <a:gd name="connsiteY11" fmla="*/ 93731 h 222021"/>
              <a:gd name="connsiteX12" fmla="*/ 16124 w 231272"/>
              <a:gd name="connsiteY12" fmla="*/ 103999 h 222021"/>
              <a:gd name="connsiteX13" fmla="*/ 26948 w 231272"/>
              <a:gd name="connsiteY13" fmla="*/ 119911 h 222021"/>
              <a:gd name="connsiteX14" fmla="*/ 106413 w 231272"/>
              <a:gd name="connsiteY14" fmla="*/ 217971 h 222021"/>
              <a:gd name="connsiteX15" fmla="*/ 114091 w 231272"/>
              <a:gd name="connsiteY15" fmla="*/ 210292 h 222021"/>
              <a:gd name="connsiteX16" fmla="*/ 123805 w 231272"/>
              <a:gd name="connsiteY16" fmla="*/ 201041 h 222021"/>
              <a:gd name="connsiteX17" fmla="*/ 135183 w 231272"/>
              <a:gd name="connsiteY17" fmla="*/ 190773 h 222021"/>
              <a:gd name="connsiteX18" fmla="*/ 139531 w 231272"/>
              <a:gd name="connsiteY18" fmla="*/ 186980 h 222021"/>
              <a:gd name="connsiteX19" fmla="*/ 148967 w 231272"/>
              <a:gd name="connsiteY19" fmla="*/ 178932 h 222021"/>
              <a:gd name="connsiteX20" fmla="*/ 154240 w 231272"/>
              <a:gd name="connsiteY20" fmla="*/ 174491 h 222021"/>
              <a:gd name="connsiteX21" fmla="*/ 164139 w 231272"/>
              <a:gd name="connsiteY21" fmla="*/ 166443 h 222021"/>
              <a:gd name="connsiteX22" fmla="*/ 167376 w 231272"/>
              <a:gd name="connsiteY22" fmla="*/ 163853 h 222021"/>
              <a:gd name="connsiteX23" fmla="*/ 177367 w 231272"/>
              <a:gd name="connsiteY23" fmla="*/ 155805 h 222021"/>
              <a:gd name="connsiteX24" fmla="*/ 201882 w 231272"/>
              <a:gd name="connsiteY24" fmla="*/ 134990 h 222021"/>
              <a:gd name="connsiteX25" fmla="*/ 210948 w 231272"/>
              <a:gd name="connsiteY25" fmla="*/ 126017 h 222021"/>
              <a:gd name="connsiteX26" fmla="*/ 215018 w 231272"/>
              <a:gd name="connsiteY26" fmla="*/ 121483 h 222021"/>
              <a:gd name="connsiteX27" fmla="*/ 221864 w 231272"/>
              <a:gd name="connsiteY27" fmla="*/ 112233 h 222021"/>
              <a:gd name="connsiteX28" fmla="*/ 226767 w 231272"/>
              <a:gd name="connsiteY28" fmla="*/ 102797 h 222021"/>
              <a:gd name="connsiteX29" fmla="*/ 229635 w 231272"/>
              <a:gd name="connsiteY29" fmla="*/ 92898 h 222021"/>
              <a:gd name="connsiteX30" fmla="*/ 211873 w 231272"/>
              <a:gd name="connsiteY30" fmla="*/ 37393 h 222021"/>
              <a:gd name="connsiteX31" fmla="*/ 152297 w 231272"/>
              <a:gd name="connsiteY31" fmla="*/ 69123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31272" h="222021">
                <a:moveTo>
                  <a:pt x="152297" y="69123"/>
                </a:moveTo>
                <a:cubicBezTo>
                  <a:pt x="188746" y="22406"/>
                  <a:pt x="238146" y="94008"/>
                  <a:pt x="180235" y="127312"/>
                </a:cubicBezTo>
                <a:cubicBezTo>
                  <a:pt x="177645" y="128792"/>
                  <a:pt x="174962" y="129994"/>
                  <a:pt x="172279" y="130920"/>
                </a:cubicBezTo>
                <a:cubicBezTo>
                  <a:pt x="164509" y="133510"/>
                  <a:pt x="156275" y="133787"/>
                  <a:pt x="148134" y="132030"/>
                </a:cubicBezTo>
                <a:cubicBezTo>
                  <a:pt x="136386" y="129532"/>
                  <a:pt x="124915" y="122686"/>
                  <a:pt x="115756" y="112048"/>
                </a:cubicBezTo>
                <a:cubicBezTo>
                  <a:pt x="105303" y="120651"/>
                  <a:pt x="93369" y="125462"/>
                  <a:pt x="81713" y="126109"/>
                </a:cubicBezTo>
                <a:cubicBezTo>
                  <a:pt x="75885" y="126479"/>
                  <a:pt x="70149" y="125831"/>
                  <a:pt x="64691" y="124074"/>
                </a:cubicBezTo>
                <a:cubicBezTo>
                  <a:pt x="59233" y="122316"/>
                  <a:pt x="54145" y="119633"/>
                  <a:pt x="49520" y="115748"/>
                </a:cubicBezTo>
                <a:cubicBezTo>
                  <a:pt x="-1730" y="72916"/>
                  <a:pt x="59418" y="11028"/>
                  <a:pt x="87171" y="63296"/>
                </a:cubicBezTo>
                <a:cubicBezTo>
                  <a:pt x="110483" y="47291"/>
                  <a:pt x="78198" y="-23848"/>
                  <a:pt x="33886" y="21759"/>
                </a:cubicBezTo>
                <a:cubicBezTo>
                  <a:pt x="12609" y="43591"/>
                  <a:pt x="5208" y="61353"/>
                  <a:pt x="6966" y="78467"/>
                </a:cubicBezTo>
                <a:cubicBezTo>
                  <a:pt x="7521" y="83555"/>
                  <a:pt x="8908" y="88643"/>
                  <a:pt x="11036" y="93731"/>
                </a:cubicBezTo>
                <a:cubicBezTo>
                  <a:pt x="12424" y="97154"/>
                  <a:pt x="14181" y="100577"/>
                  <a:pt x="16124" y="103999"/>
                </a:cubicBezTo>
                <a:cubicBezTo>
                  <a:pt x="19084" y="109180"/>
                  <a:pt x="22785" y="114453"/>
                  <a:pt x="26948" y="119911"/>
                </a:cubicBezTo>
                <a:cubicBezTo>
                  <a:pt x="46282" y="145351"/>
                  <a:pt x="76903" y="174954"/>
                  <a:pt x="106413" y="217971"/>
                </a:cubicBezTo>
                <a:cubicBezTo>
                  <a:pt x="109003" y="215380"/>
                  <a:pt x="111593" y="212790"/>
                  <a:pt x="114091" y="210292"/>
                </a:cubicBezTo>
                <a:cubicBezTo>
                  <a:pt x="117329" y="207147"/>
                  <a:pt x="120567" y="204094"/>
                  <a:pt x="123805" y="201041"/>
                </a:cubicBezTo>
                <a:cubicBezTo>
                  <a:pt x="127597" y="197526"/>
                  <a:pt x="131390" y="194103"/>
                  <a:pt x="135183" y="190773"/>
                </a:cubicBezTo>
                <a:cubicBezTo>
                  <a:pt x="136663" y="189478"/>
                  <a:pt x="138051" y="188183"/>
                  <a:pt x="139531" y="186980"/>
                </a:cubicBezTo>
                <a:cubicBezTo>
                  <a:pt x="142769" y="184205"/>
                  <a:pt x="145914" y="181522"/>
                  <a:pt x="148967" y="178932"/>
                </a:cubicBezTo>
                <a:cubicBezTo>
                  <a:pt x="150725" y="177452"/>
                  <a:pt x="152482" y="175971"/>
                  <a:pt x="154240" y="174491"/>
                </a:cubicBezTo>
                <a:cubicBezTo>
                  <a:pt x="157570" y="171716"/>
                  <a:pt x="160901" y="169033"/>
                  <a:pt x="164139" y="166443"/>
                </a:cubicBezTo>
                <a:cubicBezTo>
                  <a:pt x="165249" y="165610"/>
                  <a:pt x="166266" y="164685"/>
                  <a:pt x="167376" y="163853"/>
                </a:cubicBezTo>
                <a:cubicBezTo>
                  <a:pt x="170799" y="161077"/>
                  <a:pt x="174130" y="158395"/>
                  <a:pt x="177367" y="155805"/>
                </a:cubicBezTo>
                <a:cubicBezTo>
                  <a:pt x="186433" y="148496"/>
                  <a:pt x="194759" y="141651"/>
                  <a:pt x="201882" y="134990"/>
                </a:cubicBezTo>
                <a:cubicBezTo>
                  <a:pt x="205120" y="131937"/>
                  <a:pt x="208173" y="128977"/>
                  <a:pt x="210948" y="126017"/>
                </a:cubicBezTo>
                <a:cubicBezTo>
                  <a:pt x="212336" y="124444"/>
                  <a:pt x="213723" y="122964"/>
                  <a:pt x="215018" y="121483"/>
                </a:cubicBezTo>
                <a:cubicBezTo>
                  <a:pt x="217609" y="118431"/>
                  <a:pt x="219829" y="115378"/>
                  <a:pt x="221864" y="112233"/>
                </a:cubicBezTo>
                <a:cubicBezTo>
                  <a:pt x="223807" y="109087"/>
                  <a:pt x="225472" y="105942"/>
                  <a:pt x="226767" y="102797"/>
                </a:cubicBezTo>
                <a:cubicBezTo>
                  <a:pt x="228062" y="99559"/>
                  <a:pt x="228987" y="96321"/>
                  <a:pt x="229635" y="92898"/>
                </a:cubicBezTo>
                <a:cubicBezTo>
                  <a:pt x="232225" y="77634"/>
                  <a:pt x="227230" y="60058"/>
                  <a:pt x="211873" y="37393"/>
                </a:cubicBezTo>
                <a:cubicBezTo>
                  <a:pt x="176257" y="-15152"/>
                  <a:pt x="132038" y="49234"/>
                  <a:pt x="152297" y="69123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6" name="Freeform: Shape 765">
            <a:extLst>
              <a:ext uri="{FF2B5EF4-FFF2-40B4-BE49-F238E27FC236}">
                <a16:creationId xmlns="" xmlns:a16="http://schemas.microsoft.com/office/drawing/2014/main" id="{E503E2D6-2846-4FFC-9487-423A21EE3003}"/>
              </a:ext>
            </a:extLst>
          </p:cNvPr>
          <p:cNvSpPr/>
          <p:nvPr/>
        </p:nvSpPr>
        <p:spPr>
          <a:xfrm>
            <a:off x="1402097" y="2884303"/>
            <a:ext cx="212771" cy="222022"/>
          </a:xfrm>
          <a:custGeom>
            <a:avLst/>
            <a:gdLst>
              <a:gd name="connsiteX0" fmla="*/ 153350 w 212770"/>
              <a:gd name="connsiteY0" fmla="*/ 9249 h 222021"/>
              <a:gd name="connsiteX1" fmla="*/ 128002 w 212770"/>
              <a:gd name="connsiteY1" fmla="*/ 71878 h 222021"/>
              <a:gd name="connsiteX2" fmla="*/ 186838 w 212770"/>
              <a:gd name="connsiteY2" fmla="*/ 98428 h 222021"/>
              <a:gd name="connsiteX3" fmla="*/ 171574 w 212770"/>
              <a:gd name="connsiteY3" fmla="*/ 118873 h 222021"/>
              <a:gd name="connsiteX4" fmla="*/ 160658 w 212770"/>
              <a:gd name="connsiteY4" fmla="*/ 124793 h 222021"/>
              <a:gd name="connsiteX5" fmla="*/ 153535 w 212770"/>
              <a:gd name="connsiteY5" fmla="*/ 127198 h 222021"/>
              <a:gd name="connsiteX6" fmla="*/ 127724 w 212770"/>
              <a:gd name="connsiteY6" fmla="*/ 128216 h 222021"/>
              <a:gd name="connsiteX7" fmla="*/ 96457 w 212770"/>
              <a:gd name="connsiteY7" fmla="*/ 170308 h 222021"/>
              <a:gd name="connsiteX8" fmla="*/ 79527 w 212770"/>
              <a:gd name="connsiteY8" fmla="*/ 173730 h 222021"/>
              <a:gd name="connsiteX9" fmla="*/ 74717 w 212770"/>
              <a:gd name="connsiteY9" fmla="*/ 109344 h 222021"/>
              <a:gd name="connsiteX10" fmla="*/ 7185 w 212770"/>
              <a:gd name="connsiteY10" fmla="*/ 111749 h 222021"/>
              <a:gd name="connsiteX11" fmla="*/ 23004 w 212770"/>
              <a:gd name="connsiteY11" fmla="*/ 172528 h 222021"/>
              <a:gd name="connsiteX12" fmla="*/ 31238 w 212770"/>
              <a:gd name="connsiteY12" fmla="*/ 178911 h 222021"/>
              <a:gd name="connsiteX13" fmla="*/ 41044 w 212770"/>
              <a:gd name="connsiteY13" fmla="*/ 183999 h 222021"/>
              <a:gd name="connsiteX14" fmla="*/ 58435 w 212770"/>
              <a:gd name="connsiteY14" fmla="*/ 189827 h 222021"/>
              <a:gd name="connsiteX15" fmla="*/ 188873 w 212770"/>
              <a:gd name="connsiteY15" fmla="*/ 215452 h 222021"/>
              <a:gd name="connsiteX16" fmla="*/ 209873 w 212770"/>
              <a:gd name="connsiteY16" fmla="*/ 77706 h 222021"/>
              <a:gd name="connsiteX17" fmla="*/ 210058 w 212770"/>
              <a:gd name="connsiteY17" fmla="*/ 71600 h 222021"/>
              <a:gd name="connsiteX18" fmla="*/ 207005 w 212770"/>
              <a:gd name="connsiteY18" fmla="*/ 49768 h 222021"/>
              <a:gd name="connsiteX19" fmla="*/ 153350 w 212770"/>
              <a:gd name="connsiteY19" fmla="*/ 9249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12770" h="222021">
                <a:moveTo>
                  <a:pt x="153350" y="9249"/>
                </a:moveTo>
                <a:cubicBezTo>
                  <a:pt x="92201" y="-8142"/>
                  <a:pt x="99787" y="69658"/>
                  <a:pt x="128002" y="71878"/>
                </a:cubicBezTo>
                <a:cubicBezTo>
                  <a:pt x="125874" y="12672"/>
                  <a:pt x="209780" y="35799"/>
                  <a:pt x="186838" y="98428"/>
                </a:cubicBezTo>
                <a:cubicBezTo>
                  <a:pt x="183785" y="106846"/>
                  <a:pt x="178420" y="113784"/>
                  <a:pt x="171574" y="118873"/>
                </a:cubicBezTo>
                <a:cubicBezTo>
                  <a:pt x="168243" y="121278"/>
                  <a:pt x="164543" y="123220"/>
                  <a:pt x="160658" y="124793"/>
                </a:cubicBezTo>
                <a:cubicBezTo>
                  <a:pt x="158345" y="125718"/>
                  <a:pt x="156032" y="126551"/>
                  <a:pt x="153535" y="127198"/>
                </a:cubicBezTo>
                <a:cubicBezTo>
                  <a:pt x="145579" y="129233"/>
                  <a:pt x="136790" y="129696"/>
                  <a:pt x="127724" y="128216"/>
                </a:cubicBezTo>
                <a:cubicBezTo>
                  <a:pt x="124024" y="148198"/>
                  <a:pt x="112183" y="163739"/>
                  <a:pt x="96457" y="170308"/>
                </a:cubicBezTo>
                <a:cubicBezTo>
                  <a:pt x="91183" y="172528"/>
                  <a:pt x="85540" y="173638"/>
                  <a:pt x="79527" y="173730"/>
                </a:cubicBezTo>
                <a:cubicBezTo>
                  <a:pt x="12736" y="173823"/>
                  <a:pt x="19766" y="87142"/>
                  <a:pt x="74717" y="109344"/>
                </a:cubicBezTo>
                <a:cubicBezTo>
                  <a:pt x="82303" y="82054"/>
                  <a:pt x="11811" y="48381"/>
                  <a:pt x="7185" y="111749"/>
                </a:cubicBezTo>
                <a:cubicBezTo>
                  <a:pt x="4965" y="142185"/>
                  <a:pt x="10701" y="160594"/>
                  <a:pt x="23004" y="172528"/>
                </a:cubicBezTo>
                <a:cubicBezTo>
                  <a:pt x="25502" y="174933"/>
                  <a:pt x="28185" y="177061"/>
                  <a:pt x="31238" y="178911"/>
                </a:cubicBezTo>
                <a:cubicBezTo>
                  <a:pt x="34198" y="180853"/>
                  <a:pt x="37528" y="182519"/>
                  <a:pt x="41044" y="183999"/>
                </a:cubicBezTo>
                <a:cubicBezTo>
                  <a:pt x="46317" y="186312"/>
                  <a:pt x="52145" y="188162"/>
                  <a:pt x="58435" y="189827"/>
                </a:cubicBezTo>
                <a:cubicBezTo>
                  <a:pt x="90166" y="198153"/>
                  <a:pt x="135033" y="200466"/>
                  <a:pt x="188873" y="215452"/>
                </a:cubicBezTo>
                <a:cubicBezTo>
                  <a:pt x="193498" y="155969"/>
                  <a:pt x="208115" y="111102"/>
                  <a:pt x="209873" y="77706"/>
                </a:cubicBezTo>
                <a:cubicBezTo>
                  <a:pt x="209965" y="75578"/>
                  <a:pt x="210058" y="73543"/>
                  <a:pt x="210058" y="71600"/>
                </a:cubicBezTo>
                <a:cubicBezTo>
                  <a:pt x="210058" y="63645"/>
                  <a:pt x="209225" y="56336"/>
                  <a:pt x="207005" y="49768"/>
                </a:cubicBezTo>
                <a:cubicBezTo>
                  <a:pt x="200992" y="31544"/>
                  <a:pt x="185635" y="18408"/>
                  <a:pt x="153350" y="9249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7" name="Freeform: Shape 766">
            <a:extLst>
              <a:ext uri="{FF2B5EF4-FFF2-40B4-BE49-F238E27FC236}">
                <a16:creationId xmlns="" xmlns:a16="http://schemas.microsoft.com/office/drawing/2014/main" id="{B1D842C9-8D27-491E-872F-ED934C2410E2}"/>
              </a:ext>
            </a:extLst>
          </p:cNvPr>
          <p:cNvSpPr/>
          <p:nvPr/>
        </p:nvSpPr>
        <p:spPr>
          <a:xfrm>
            <a:off x="1382894" y="1783696"/>
            <a:ext cx="222022" cy="231272"/>
          </a:xfrm>
          <a:custGeom>
            <a:avLst/>
            <a:gdLst>
              <a:gd name="connsiteX0" fmla="*/ 164042 w 222021"/>
              <a:gd name="connsiteY0" fmla="*/ 54699 h 231272"/>
              <a:gd name="connsiteX1" fmla="*/ 160064 w 222021"/>
              <a:gd name="connsiteY1" fmla="*/ 48223 h 231272"/>
              <a:gd name="connsiteX2" fmla="*/ 146465 w 222021"/>
              <a:gd name="connsiteY2" fmla="*/ 28889 h 231272"/>
              <a:gd name="connsiteX3" fmla="*/ 140545 w 222021"/>
              <a:gd name="connsiteY3" fmla="*/ 22506 h 231272"/>
              <a:gd name="connsiteX4" fmla="*/ 134439 w 222021"/>
              <a:gd name="connsiteY4" fmla="*/ 17048 h 231272"/>
              <a:gd name="connsiteX5" fmla="*/ 63115 w 222021"/>
              <a:gd name="connsiteY5" fmla="*/ 17418 h 231272"/>
              <a:gd name="connsiteX6" fmla="*/ 83929 w 222021"/>
              <a:gd name="connsiteY6" fmla="*/ 81712 h 231272"/>
              <a:gd name="connsiteX7" fmla="*/ 146095 w 222021"/>
              <a:gd name="connsiteY7" fmla="*/ 64320 h 231272"/>
              <a:gd name="connsiteX8" fmla="*/ 147483 w 222021"/>
              <a:gd name="connsiteY8" fmla="*/ 89852 h 231272"/>
              <a:gd name="connsiteX9" fmla="*/ 140545 w 222021"/>
              <a:gd name="connsiteY9" fmla="*/ 105856 h 231272"/>
              <a:gd name="connsiteX10" fmla="*/ 119915 w 222021"/>
              <a:gd name="connsiteY10" fmla="*/ 125283 h 231272"/>
              <a:gd name="connsiteX11" fmla="*/ 122968 w 222021"/>
              <a:gd name="connsiteY11" fmla="*/ 177643 h 231272"/>
              <a:gd name="connsiteX12" fmla="*/ 112144 w 222021"/>
              <a:gd name="connsiteY12" fmla="*/ 191150 h 231272"/>
              <a:gd name="connsiteX13" fmla="*/ 67093 w 222021"/>
              <a:gd name="connsiteY13" fmla="*/ 144988 h 231272"/>
              <a:gd name="connsiteX14" fmla="*/ 16953 w 222021"/>
              <a:gd name="connsiteY14" fmla="*/ 190225 h 231272"/>
              <a:gd name="connsiteX15" fmla="*/ 83929 w 222021"/>
              <a:gd name="connsiteY15" fmla="*/ 225286 h 231272"/>
              <a:gd name="connsiteX16" fmla="*/ 94938 w 222021"/>
              <a:gd name="connsiteY16" fmla="*/ 222048 h 231272"/>
              <a:gd name="connsiteX17" fmla="*/ 100673 w 222021"/>
              <a:gd name="connsiteY17" fmla="*/ 219828 h 231272"/>
              <a:gd name="connsiteX18" fmla="*/ 222878 w 222021"/>
              <a:gd name="connsiteY18" fmla="*/ 152944 h 231272"/>
              <a:gd name="connsiteX19" fmla="*/ 172183 w 222021"/>
              <a:gd name="connsiteY19" fmla="*/ 69038 h 231272"/>
              <a:gd name="connsiteX20" fmla="*/ 166355 w 222021"/>
              <a:gd name="connsiteY20" fmla="*/ 58677 h 231272"/>
              <a:gd name="connsiteX21" fmla="*/ 164042 w 222021"/>
              <a:gd name="connsiteY21" fmla="*/ 54699 h 2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2021" h="231272">
                <a:moveTo>
                  <a:pt x="164042" y="54699"/>
                </a:moveTo>
                <a:cubicBezTo>
                  <a:pt x="162747" y="52479"/>
                  <a:pt x="161452" y="50259"/>
                  <a:pt x="160064" y="48223"/>
                </a:cubicBezTo>
                <a:cubicBezTo>
                  <a:pt x="155531" y="41008"/>
                  <a:pt x="151091" y="34440"/>
                  <a:pt x="146465" y="28889"/>
                </a:cubicBezTo>
                <a:cubicBezTo>
                  <a:pt x="144522" y="26576"/>
                  <a:pt x="142580" y="24541"/>
                  <a:pt x="140545" y="22506"/>
                </a:cubicBezTo>
                <a:cubicBezTo>
                  <a:pt x="138509" y="20563"/>
                  <a:pt x="136474" y="18713"/>
                  <a:pt x="134439" y="17048"/>
                </a:cubicBezTo>
                <a:cubicBezTo>
                  <a:pt x="117510" y="4004"/>
                  <a:pt x="96510" y="2431"/>
                  <a:pt x="63115" y="17418"/>
                </a:cubicBezTo>
                <a:cubicBezTo>
                  <a:pt x="5111" y="43413"/>
                  <a:pt x="60894" y="98178"/>
                  <a:pt x="83929" y="81712"/>
                </a:cubicBezTo>
                <a:cubicBezTo>
                  <a:pt x="44243" y="37770"/>
                  <a:pt x="123338" y="1506"/>
                  <a:pt x="146095" y="64320"/>
                </a:cubicBezTo>
                <a:cubicBezTo>
                  <a:pt x="149148" y="72738"/>
                  <a:pt x="149518" y="81434"/>
                  <a:pt x="147483" y="89852"/>
                </a:cubicBezTo>
                <a:cubicBezTo>
                  <a:pt x="146188" y="95403"/>
                  <a:pt x="143782" y="100768"/>
                  <a:pt x="140545" y="105856"/>
                </a:cubicBezTo>
                <a:cubicBezTo>
                  <a:pt x="135642" y="113350"/>
                  <a:pt x="128611" y="120103"/>
                  <a:pt x="119915" y="125283"/>
                </a:cubicBezTo>
                <a:cubicBezTo>
                  <a:pt x="129906" y="142953"/>
                  <a:pt x="130831" y="162472"/>
                  <a:pt x="122968" y="177643"/>
                </a:cubicBezTo>
                <a:cubicBezTo>
                  <a:pt x="120378" y="182731"/>
                  <a:pt x="116770" y="187264"/>
                  <a:pt x="112144" y="191150"/>
                </a:cubicBezTo>
                <a:cubicBezTo>
                  <a:pt x="61079" y="234166"/>
                  <a:pt x="10662" y="163212"/>
                  <a:pt x="67093" y="144988"/>
                </a:cubicBezTo>
                <a:cubicBezTo>
                  <a:pt x="55344" y="119270"/>
                  <a:pt x="-20329" y="138697"/>
                  <a:pt x="16953" y="190225"/>
                </a:cubicBezTo>
                <a:cubicBezTo>
                  <a:pt x="40172" y="222325"/>
                  <a:pt x="60524" y="230374"/>
                  <a:pt x="83929" y="225286"/>
                </a:cubicBezTo>
                <a:cubicBezTo>
                  <a:pt x="87537" y="224453"/>
                  <a:pt x="91145" y="223435"/>
                  <a:pt x="94938" y="222048"/>
                </a:cubicBezTo>
                <a:cubicBezTo>
                  <a:pt x="96788" y="221400"/>
                  <a:pt x="98731" y="220568"/>
                  <a:pt x="100673" y="219828"/>
                </a:cubicBezTo>
                <a:cubicBezTo>
                  <a:pt x="131386" y="206784"/>
                  <a:pt x="168575" y="177643"/>
                  <a:pt x="222878" y="152944"/>
                </a:cubicBezTo>
                <a:cubicBezTo>
                  <a:pt x="200768" y="121953"/>
                  <a:pt x="185597" y="92905"/>
                  <a:pt x="172183" y="69038"/>
                </a:cubicBezTo>
                <a:cubicBezTo>
                  <a:pt x="170148" y="65430"/>
                  <a:pt x="168205" y="62007"/>
                  <a:pt x="166355" y="58677"/>
                </a:cubicBezTo>
                <a:cubicBezTo>
                  <a:pt x="165522" y="57104"/>
                  <a:pt x="164782" y="55902"/>
                  <a:pt x="164042" y="54699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8" name="Freeform: Shape 767">
            <a:extLst>
              <a:ext uri="{FF2B5EF4-FFF2-40B4-BE49-F238E27FC236}">
                <a16:creationId xmlns="" xmlns:a16="http://schemas.microsoft.com/office/drawing/2014/main" id="{EEA1BF93-3873-4866-A806-C3D5554019C9}"/>
              </a:ext>
            </a:extLst>
          </p:cNvPr>
          <p:cNvSpPr/>
          <p:nvPr/>
        </p:nvSpPr>
        <p:spPr>
          <a:xfrm>
            <a:off x="647459" y="981474"/>
            <a:ext cx="222022" cy="222022"/>
          </a:xfrm>
          <a:custGeom>
            <a:avLst/>
            <a:gdLst>
              <a:gd name="connsiteX0" fmla="*/ 69763 w 222021"/>
              <a:gd name="connsiteY0" fmla="*/ 88912 h 222021"/>
              <a:gd name="connsiteX1" fmla="*/ 106119 w 222021"/>
              <a:gd name="connsiteY1" fmla="*/ 35627 h 222021"/>
              <a:gd name="connsiteX2" fmla="*/ 119070 w 222021"/>
              <a:gd name="connsiteY2" fmla="*/ 47005 h 222021"/>
              <a:gd name="connsiteX3" fmla="*/ 127396 w 222021"/>
              <a:gd name="connsiteY3" fmla="*/ 65322 h 222021"/>
              <a:gd name="connsiteX4" fmla="*/ 128876 w 222021"/>
              <a:gd name="connsiteY4" fmla="*/ 78551 h 222021"/>
              <a:gd name="connsiteX5" fmla="*/ 128969 w 222021"/>
              <a:gd name="connsiteY5" fmla="*/ 80123 h 222021"/>
              <a:gd name="connsiteX6" fmla="*/ 125268 w 222021"/>
              <a:gd name="connsiteY6" fmla="*/ 99088 h 222021"/>
              <a:gd name="connsiteX7" fmla="*/ 158664 w 222021"/>
              <a:gd name="connsiteY7" fmla="*/ 129153 h 222021"/>
              <a:gd name="connsiteX8" fmla="*/ 161717 w 222021"/>
              <a:gd name="connsiteY8" fmla="*/ 154501 h 222021"/>
              <a:gd name="connsiteX9" fmla="*/ 97516 w 222021"/>
              <a:gd name="connsiteY9" fmla="*/ 148117 h 222021"/>
              <a:gd name="connsiteX10" fmla="*/ 88172 w 222021"/>
              <a:gd name="connsiteY10" fmla="*/ 215002 h 222021"/>
              <a:gd name="connsiteX11" fmla="*/ 146453 w 222021"/>
              <a:gd name="connsiteY11" fmla="*/ 212689 h 222021"/>
              <a:gd name="connsiteX12" fmla="*/ 154779 w 222021"/>
              <a:gd name="connsiteY12" fmla="*/ 206583 h 222021"/>
              <a:gd name="connsiteX13" fmla="*/ 165232 w 222021"/>
              <a:gd name="connsiteY13" fmla="*/ 194094 h 222021"/>
              <a:gd name="connsiteX14" fmla="*/ 221848 w 222021"/>
              <a:gd name="connsiteY14" fmla="*/ 53943 h 222021"/>
              <a:gd name="connsiteX15" fmla="*/ 191042 w 222021"/>
              <a:gd name="connsiteY15" fmla="*/ 44970 h 222021"/>
              <a:gd name="connsiteX16" fmla="*/ 160422 w 222021"/>
              <a:gd name="connsiteY16" fmla="*/ 34239 h 222021"/>
              <a:gd name="connsiteX17" fmla="*/ 152744 w 222021"/>
              <a:gd name="connsiteY17" fmla="*/ 31371 h 222021"/>
              <a:gd name="connsiteX18" fmla="*/ 140255 w 222021"/>
              <a:gd name="connsiteY18" fmla="*/ 26561 h 222021"/>
              <a:gd name="connsiteX19" fmla="*/ 135537 w 222021"/>
              <a:gd name="connsiteY19" fmla="*/ 24711 h 222021"/>
              <a:gd name="connsiteX20" fmla="*/ 119163 w 222021"/>
              <a:gd name="connsiteY20" fmla="*/ 18512 h 222021"/>
              <a:gd name="connsiteX21" fmla="*/ 96128 w 222021"/>
              <a:gd name="connsiteY21" fmla="*/ 10927 h 222021"/>
              <a:gd name="connsiteX22" fmla="*/ 89930 w 222021"/>
              <a:gd name="connsiteY22" fmla="*/ 9354 h 222021"/>
              <a:gd name="connsiteX23" fmla="*/ 78181 w 222021"/>
              <a:gd name="connsiteY23" fmla="*/ 7226 h 222021"/>
              <a:gd name="connsiteX24" fmla="*/ 51909 w 222021"/>
              <a:gd name="connsiteY24" fmla="*/ 9724 h 222021"/>
              <a:gd name="connsiteX25" fmla="*/ 42473 w 222021"/>
              <a:gd name="connsiteY25" fmla="*/ 14535 h 222021"/>
              <a:gd name="connsiteX26" fmla="*/ 12777 w 222021"/>
              <a:gd name="connsiteY26" fmla="*/ 52926 h 222021"/>
              <a:gd name="connsiteX27" fmla="*/ 69763 w 222021"/>
              <a:gd name="connsiteY27" fmla="*/ 88912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22021" h="222021">
                <a:moveTo>
                  <a:pt x="69763" y="88912"/>
                </a:moveTo>
                <a:cubicBezTo>
                  <a:pt x="11112" y="80771"/>
                  <a:pt x="48393" y="2138"/>
                  <a:pt x="106119" y="35627"/>
                </a:cubicBezTo>
                <a:cubicBezTo>
                  <a:pt x="111299" y="38587"/>
                  <a:pt x="115647" y="42472"/>
                  <a:pt x="119070" y="47005"/>
                </a:cubicBezTo>
                <a:cubicBezTo>
                  <a:pt x="123141" y="52278"/>
                  <a:pt x="125823" y="58569"/>
                  <a:pt x="127396" y="65322"/>
                </a:cubicBezTo>
                <a:cubicBezTo>
                  <a:pt x="128414" y="69577"/>
                  <a:pt x="128876" y="73925"/>
                  <a:pt x="128876" y="78551"/>
                </a:cubicBezTo>
                <a:cubicBezTo>
                  <a:pt x="128876" y="79106"/>
                  <a:pt x="128969" y="79568"/>
                  <a:pt x="128969" y="80123"/>
                </a:cubicBezTo>
                <a:cubicBezTo>
                  <a:pt x="128691" y="86321"/>
                  <a:pt x="127489" y="92705"/>
                  <a:pt x="125268" y="99088"/>
                </a:cubicBezTo>
                <a:cubicBezTo>
                  <a:pt x="141087" y="105008"/>
                  <a:pt x="152929" y="116017"/>
                  <a:pt x="158664" y="129153"/>
                </a:cubicBezTo>
                <a:cubicBezTo>
                  <a:pt x="162087" y="137016"/>
                  <a:pt x="163197" y="145712"/>
                  <a:pt x="161717" y="154501"/>
                </a:cubicBezTo>
                <a:cubicBezTo>
                  <a:pt x="150246" y="220274"/>
                  <a:pt x="66063" y="198257"/>
                  <a:pt x="97516" y="148117"/>
                </a:cubicBezTo>
                <a:cubicBezTo>
                  <a:pt x="71983" y="135906"/>
                  <a:pt x="26561" y="199460"/>
                  <a:pt x="88172" y="215002"/>
                </a:cubicBezTo>
                <a:cubicBezTo>
                  <a:pt x="114815" y="221755"/>
                  <a:pt x="132947" y="220460"/>
                  <a:pt x="146453" y="212689"/>
                </a:cubicBezTo>
                <a:cubicBezTo>
                  <a:pt x="149413" y="211024"/>
                  <a:pt x="152188" y="208988"/>
                  <a:pt x="154779" y="206583"/>
                </a:cubicBezTo>
                <a:cubicBezTo>
                  <a:pt x="158664" y="203068"/>
                  <a:pt x="162087" y="198905"/>
                  <a:pt x="165232" y="194094"/>
                </a:cubicBezTo>
                <a:cubicBezTo>
                  <a:pt x="184197" y="165417"/>
                  <a:pt x="192985" y="114444"/>
                  <a:pt x="221848" y="53943"/>
                </a:cubicBezTo>
                <a:cubicBezTo>
                  <a:pt x="211024" y="51168"/>
                  <a:pt x="200756" y="48115"/>
                  <a:pt x="191042" y="44970"/>
                </a:cubicBezTo>
                <a:cubicBezTo>
                  <a:pt x="180219" y="41455"/>
                  <a:pt x="170043" y="37847"/>
                  <a:pt x="160422" y="34239"/>
                </a:cubicBezTo>
                <a:cubicBezTo>
                  <a:pt x="157832" y="33314"/>
                  <a:pt x="155241" y="32296"/>
                  <a:pt x="152744" y="31371"/>
                </a:cubicBezTo>
                <a:cubicBezTo>
                  <a:pt x="148488" y="29706"/>
                  <a:pt x="144325" y="28133"/>
                  <a:pt x="140255" y="26561"/>
                </a:cubicBezTo>
                <a:cubicBezTo>
                  <a:pt x="138682" y="25913"/>
                  <a:pt x="137109" y="25358"/>
                  <a:pt x="135537" y="24711"/>
                </a:cubicBezTo>
                <a:cubicBezTo>
                  <a:pt x="129801" y="22490"/>
                  <a:pt x="124343" y="20455"/>
                  <a:pt x="119163" y="18512"/>
                </a:cubicBezTo>
                <a:cubicBezTo>
                  <a:pt x="111022" y="15552"/>
                  <a:pt x="103344" y="12962"/>
                  <a:pt x="96128" y="10927"/>
                </a:cubicBezTo>
                <a:cubicBezTo>
                  <a:pt x="94000" y="10372"/>
                  <a:pt x="91965" y="9817"/>
                  <a:pt x="89930" y="9354"/>
                </a:cubicBezTo>
                <a:cubicBezTo>
                  <a:pt x="85859" y="8429"/>
                  <a:pt x="81974" y="7689"/>
                  <a:pt x="78181" y="7226"/>
                </a:cubicBezTo>
                <a:cubicBezTo>
                  <a:pt x="68653" y="6116"/>
                  <a:pt x="59957" y="6764"/>
                  <a:pt x="51909" y="9724"/>
                </a:cubicBezTo>
                <a:cubicBezTo>
                  <a:pt x="48671" y="10927"/>
                  <a:pt x="45526" y="12499"/>
                  <a:pt x="42473" y="14535"/>
                </a:cubicBezTo>
                <a:cubicBezTo>
                  <a:pt x="31742" y="21565"/>
                  <a:pt x="22028" y="33684"/>
                  <a:pt x="12777" y="52926"/>
                </a:cubicBezTo>
                <a:cubicBezTo>
                  <a:pt x="-15253" y="110281"/>
                  <a:pt x="62640" y="116387"/>
                  <a:pt x="69763" y="88912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69" name="Freeform: Shape 768">
            <a:extLst>
              <a:ext uri="{FF2B5EF4-FFF2-40B4-BE49-F238E27FC236}">
                <a16:creationId xmlns="" xmlns:a16="http://schemas.microsoft.com/office/drawing/2014/main" id="{0C618195-C18D-48BE-BF57-F82A3F6B7E28}"/>
              </a:ext>
            </a:extLst>
          </p:cNvPr>
          <p:cNvSpPr/>
          <p:nvPr/>
        </p:nvSpPr>
        <p:spPr>
          <a:xfrm>
            <a:off x="-6717" y="3397486"/>
            <a:ext cx="120262" cy="212771"/>
          </a:xfrm>
          <a:custGeom>
            <a:avLst/>
            <a:gdLst>
              <a:gd name="connsiteX0" fmla="*/ 72306 w 120261"/>
              <a:gd name="connsiteY0" fmla="*/ 103666 h 212770"/>
              <a:gd name="connsiteX1" fmla="*/ 39372 w 120261"/>
              <a:gd name="connsiteY1" fmla="*/ 159171 h 212770"/>
              <a:gd name="connsiteX2" fmla="*/ 96080 w 120261"/>
              <a:gd name="connsiteY2" fmla="*/ 195897 h 212770"/>
              <a:gd name="connsiteX3" fmla="*/ 6717 w 120261"/>
              <a:gd name="connsiteY3" fmla="*/ 6717 h 212770"/>
              <a:gd name="connsiteX4" fmla="*/ 6717 w 120261"/>
              <a:gd name="connsiteY4" fmla="*/ 113194 h 212770"/>
              <a:gd name="connsiteX5" fmla="*/ 72306 w 120261"/>
              <a:gd name="connsiteY5" fmla="*/ 103666 h 212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0261" h="212770">
                <a:moveTo>
                  <a:pt x="72306" y="103666"/>
                </a:moveTo>
                <a:cubicBezTo>
                  <a:pt x="127071" y="141872"/>
                  <a:pt x="71566" y="208849"/>
                  <a:pt x="39372" y="159171"/>
                </a:cubicBezTo>
                <a:cubicBezTo>
                  <a:pt x="17540" y="177211"/>
                  <a:pt x="55932" y="245205"/>
                  <a:pt x="96080" y="195897"/>
                </a:cubicBezTo>
                <a:cubicBezTo>
                  <a:pt x="157691" y="120225"/>
                  <a:pt x="82574" y="98856"/>
                  <a:pt x="6717" y="6717"/>
                </a:cubicBezTo>
                <a:lnTo>
                  <a:pt x="6717" y="113194"/>
                </a:lnTo>
                <a:cubicBezTo>
                  <a:pt x="26051" y="94323"/>
                  <a:pt x="52694" y="90067"/>
                  <a:pt x="72306" y="103666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0" name="Freeform: Shape 769">
            <a:extLst>
              <a:ext uri="{FF2B5EF4-FFF2-40B4-BE49-F238E27FC236}">
                <a16:creationId xmlns="" xmlns:a16="http://schemas.microsoft.com/office/drawing/2014/main" id="{E934A736-7CEB-4C4D-8652-3CE0C195F075}"/>
              </a:ext>
            </a:extLst>
          </p:cNvPr>
          <p:cNvSpPr/>
          <p:nvPr/>
        </p:nvSpPr>
        <p:spPr>
          <a:xfrm>
            <a:off x="242773" y="1422769"/>
            <a:ext cx="222022" cy="222022"/>
          </a:xfrm>
          <a:custGeom>
            <a:avLst/>
            <a:gdLst>
              <a:gd name="connsiteX0" fmla="*/ 150112 w 222021"/>
              <a:gd name="connsiteY0" fmla="*/ 90919 h 222021"/>
              <a:gd name="connsiteX1" fmla="*/ 162046 w 222021"/>
              <a:gd name="connsiteY1" fmla="*/ 154381 h 222021"/>
              <a:gd name="connsiteX2" fmla="*/ 103673 w 222021"/>
              <a:gd name="connsiteY2" fmla="*/ 122928 h 222021"/>
              <a:gd name="connsiteX3" fmla="*/ 38732 w 222021"/>
              <a:gd name="connsiteY3" fmla="*/ 109514 h 222021"/>
              <a:gd name="connsiteX4" fmla="*/ 88686 w 222021"/>
              <a:gd name="connsiteY4" fmla="*/ 68625 h 222021"/>
              <a:gd name="connsiteX5" fmla="*/ 47983 w 222021"/>
              <a:gd name="connsiteY5" fmla="*/ 14692 h 222021"/>
              <a:gd name="connsiteX6" fmla="*/ 67224 w 222021"/>
              <a:gd name="connsiteY6" fmla="*/ 223022 h 222021"/>
              <a:gd name="connsiteX7" fmla="*/ 215886 w 222021"/>
              <a:gd name="connsiteY7" fmla="*/ 75841 h 222021"/>
              <a:gd name="connsiteX8" fmla="*/ 150112 w 222021"/>
              <a:gd name="connsiteY8" fmla="*/ 90919 h 222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021" h="222021">
                <a:moveTo>
                  <a:pt x="150112" y="90919"/>
                </a:moveTo>
                <a:cubicBezTo>
                  <a:pt x="197385" y="55211"/>
                  <a:pt x="226617" y="137174"/>
                  <a:pt x="162046" y="154381"/>
                </a:cubicBezTo>
                <a:cubicBezTo>
                  <a:pt x="138919" y="160486"/>
                  <a:pt x="115422" y="147350"/>
                  <a:pt x="103673" y="122928"/>
                </a:cubicBezTo>
                <a:cubicBezTo>
                  <a:pt x="79066" y="134121"/>
                  <a:pt x="52515" y="129033"/>
                  <a:pt x="38732" y="109514"/>
                </a:cubicBezTo>
                <a:cubicBezTo>
                  <a:pt x="340" y="54933"/>
                  <a:pt x="75365" y="10899"/>
                  <a:pt x="88686" y="68625"/>
                </a:cubicBezTo>
                <a:cubicBezTo>
                  <a:pt x="115329" y="59189"/>
                  <a:pt x="102563" y="-17871"/>
                  <a:pt x="47983" y="14692"/>
                </a:cubicBezTo>
                <a:cubicBezTo>
                  <a:pt x="-35831" y="64739"/>
                  <a:pt x="27538" y="110531"/>
                  <a:pt x="67224" y="223022"/>
                </a:cubicBezTo>
                <a:cubicBezTo>
                  <a:pt x="170002" y="162429"/>
                  <a:pt x="247894" y="167979"/>
                  <a:pt x="215886" y="75841"/>
                </a:cubicBezTo>
                <a:cubicBezTo>
                  <a:pt x="195072" y="15710"/>
                  <a:pt x="135774" y="66497"/>
                  <a:pt x="150112" y="90919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1" name="Freeform: Shape 770">
            <a:extLst>
              <a:ext uri="{FF2B5EF4-FFF2-40B4-BE49-F238E27FC236}">
                <a16:creationId xmlns="" xmlns:a16="http://schemas.microsoft.com/office/drawing/2014/main" id="{5DE192D1-F83D-45CB-B7D1-DD907C5D111F}"/>
              </a:ext>
            </a:extLst>
          </p:cNvPr>
          <p:cNvSpPr/>
          <p:nvPr/>
        </p:nvSpPr>
        <p:spPr>
          <a:xfrm>
            <a:off x="778407" y="1863610"/>
            <a:ext cx="222022" cy="212771"/>
          </a:xfrm>
          <a:custGeom>
            <a:avLst/>
            <a:gdLst>
              <a:gd name="connsiteX0" fmla="*/ 155101 w 222021"/>
              <a:gd name="connsiteY0" fmla="*/ 132791 h 212770"/>
              <a:gd name="connsiteX1" fmla="*/ 123463 w 222021"/>
              <a:gd name="connsiteY1" fmla="*/ 189036 h 212770"/>
              <a:gd name="connsiteX2" fmla="*/ 98948 w 222021"/>
              <a:gd name="connsiteY2" fmla="*/ 127425 h 212770"/>
              <a:gd name="connsiteX3" fmla="*/ 57874 w 222021"/>
              <a:gd name="connsiteY3" fmla="*/ 75435 h 212770"/>
              <a:gd name="connsiteX4" fmla="*/ 122445 w 222021"/>
              <a:gd name="connsiteY4" fmla="*/ 76175 h 212770"/>
              <a:gd name="connsiteX5" fmla="*/ 125868 w 222021"/>
              <a:gd name="connsiteY5" fmla="*/ 8736 h 212770"/>
              <a:gd name="connsiteX6" fmla="*/ 6717 w 222021"/>
              <a:gd name="connsiteY6" fmla="*/ 180710 h 212770"/>
              <a:gd name="connsiteX7" fmla="*/ 215232 w 222021"/>
              <a:gd name="connsiteY7" fmla="*/ 163504 h 212770"/>
              <a:gd name="connsiteX8" fmla="*/ 155101 w 222021"/>
              <a:gd name="connsiteY8" fmla="*/ 132791 h 212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021" h="212770">
                <a:moveTo>
                  <a:pt x="155101" y="132791"/>
                </a:moveTo>
                <a:cubicBezTo>
                  <a:pt x="214214" y="135844"/>
                  <a:pt x="183964" y="217437"/>
                  <a:pt x="123463" y="189036"/>
                </a:cubicBezTo>
                <a:cubicBezTo>
                  <a:pt x="101816" y="178860"/>
                  <a:pt x="92195" y="153698"/>
                  <a:pt x="98948" y="127425"/>
                </a:cubicBezTo>
                <a:cubicBezTo>
                  <a:pt x="72861" y="120117"/>
                  <a:pt x="55839" y="99210"/>
                  <a:pt x="57874" y="75435"/>
                </a:cubicBezTo>
                <a:cubicBezTo>
                  <a:pt x="63517" y="8921"/>
                  <a:pt x="149366" y="23445"/>
                  <a:pt x="122445" y="76175"/>
                </a:cubicBezTo>
                <a:cubicBezTo>
                  <a:pt x="148996" y="86074"/>
                  <a:pt x="188682" y="18820"/>
                  <a:pt x="125868" y="8736"/>
                </a:cubicBezTo>
                <a:cubicBezTo>
                  <a:pt x="29566" y="-6805"/>
                  <a:pt x="48531" y="68960"/>
                  <a:pt x="6717" y="180710"/>
                </a:cubicBezTo>
                <a:cubicBezTo>
                  <a:pt x="124388" y="200322"/>
                  <a:pt x="180541" y="254718"/>
                  <a:pt x="215232" y="163504"/>
                </a:cubicBezTo>
                <a:cubicBezTo>
                  <a:pt x="237897" y="104113"/>
                  <a:pt x="159727" y="104946"/>
                  <a:pt x="155101" y="132791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2" name="Freeform: Shape 771">
            <a:extLst>
              <a:ext uri="{FF2B5EF4-FFF2-40B4-BE49-F238E27FC236}">
                <a16:creationId xmlns="" xmlns:a16="http://schemas.microsoft.com/office/drawing/2014/main" id="{C862FBB8-34A8-449F-9C83-B5F4293F6D30}"/>
              </a:ext>
            </a:extLst>
          </p:cNvPr>
          <p:cNvSpPr/>
          <p:nvPr/>
        </p:nvSpPr>
        <p:spPr>
          <a:xfrm>
            <a:off x="885903" y="2561467"/>
            <a:ext cx="222022" cy="231272"/>
          </a:xfrm>
          <a:custGeom>
            <a:avLst/>
            <a:gdLst>
              <a:gd name="connsiteX0" fmla="*/ 177673 w 222021"/>
              <a:gd name="connsiteY0" fmla="*/ 214507 h 231272"/>
              <a:gd name="connsiteX1" fmla="*/ 151308 w 222021"/>
              <a:gd name="connsiteY1" fmla="*/ 152248 h 231272"/>
              <a:gd name="connsiteX2" fmla="*/ 90900 w 222021"/>
              <a:gd name="connsiteY2" fmla="*/ 175006 h 231272"/>
              <a:gd name="connsiteX3" fmla="*/ 111714 w 222021"/>
              <a:gd name="connsiteY3" fmla="*/ 112100 h 231272"/>
              <a:gd name="connsiteX4" fmla="*/ 113657 w 222021"/>
              <a:gd name="connsiteY4" fmla="*/ 45863 h 231272"/>
              <a:gd name="connsiteX5" fmla="*/ 162594 w 222021"/>
              <a:gd name="connsiteY5" fmla="*/ 87955 h 231272"/>
              <a:gd name="connsiteX6" fmla="*/ 208571 w 222021"/>
              <a:gd name="connsiteY6" fmla="*/ 38463 h 231272"/>
              <a:gd name="connsiteX7" fmla="*/ 6717 w 222021"/>
              <a:gd name="connsiteY7" fmla="*/ 93598 h 231272"/>
              <a:gd name="connsiteX8" fmla="*/ 177673 w 222021"/>
              <a:gd name="connsiteY8" fmla="*/ 214507 h 2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021" h="231272">
                <a:moveTo>
                  <a:pt x="177673" y="214507"/>
                </a:moveTo>
                <a:cubicBezTo>
                  <a:pt x="233179" y="183517"/>
                  <a:pt x="172863" y="133932"/>
                  <a:pt x="151308" y="152248"/>
                </a:cubicBezTo>
                <a:cubicBezTo>
                  <a:pt x="194695" y="192583"/>
                  <a:pt x="119023" y="235599"/>
                  <a:pt x="90900" y="175006"/>
                </a:cubicBezTo>
                <a:cubicBezTo>
                  <a:pt x="80816" y="153359"/>
                  <a:pt x="89697" y="127826"/>
                  <a:pt x="111714" y="112100"/>
                </a:cubicBezTo>
                <a:cubicBezTo>
                  <a:pt x="96451" y="89805"/>
                  <a:pt x="96821" y="62792"/>
                  <a:pt x="113657" y="45863"/>
                </a:cubicBezTo>
                <a:cubicBezTo>
                  <a:pt x="160744" y="-1409"/>
                  <a:pt x="217175" y="64828"/>
                  <a:pt x="162594" y="87955"/>
                </a:cubicBezTo>
                <a:cubicBezTo>
                  <a:pt x="176563" y="112562"/>
                  <a:pt x="250200" y="86567"/>
                  <a:pt x="208571" y="38463"/>
                </a:cubicBezTo>
                <a:cubicBezTo>
                  <a:pt x="144740" y="-35360"/>
                  <a:pt x="110604" y="34947"/>
                  <a:pt x="6717" y="93598"/>
                </a:cubicBezTo>
                <a:cubicBezTo>
                  <a:pt x="84424" y="184257"/>
                  <a:pt x="92473" y="261964"/>
                  <a:pt x="177673" y="214507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3" name="Freeform: Shape 772">
            <a:extLst>
              <a:ext uri="{FF2B5EF4-FFF2-40B4-BE49-F238E27FC236}">
                <a16:creationId xmlns="" xmlns:a16="http://schemas.microsoft.com/office/drawing/2014/main" id="{FAD11494-C103-4504-8116-A1217E3DAD5A}"/>
              </a:ext>
            </a:extLst>
          </p:cNvPr>
          <p:cNvSpPr/>
          <p:nvPr/>
        </p:nvSpPr>
        <p:spPr>
          <a:xfrm>
            <a:off x="567006" y="3185362"/>
            <a:ext cx="203520" cy="212771"/>
          </a:xfrm>
          <a:custGeom>
            <a:avLst/>
            <a:gdLst>
              <a:gd name="connsiteX0" fmla="*/ 68901 w 203519"/>
              <a:gd name="connsiteY0" fmla="*/ 209126 h 212770"/>
              <a:gd name="connsiteX1" fmla="*/ 88698 w 203519"/>
              <a:gd name="connsiteY1" fmla="*/ 144555 h 212770"/>
              <a:gd name="connsiteX2" fmla="*/ 27827 w 203519"/>
              <a:gd name="connsiteY2" fmla="*/ 123186 h 212770"/>
              <a:gd name="connsiteX3" fmla="*/ 84257 w 203519"/>
              <a:gd name="connsiteY3" fmla="*/ 88402 h 212770"/>
              <a:gd name="connsiteX4" fmla="*/ 128384 w 203519"/>
              <a:gd name="connsiteY4" fmla="*/ 38910 h 212770"/>
              <a:gd name="connsiteX5" fmla="*/ 138838 w 203519"/>
              <a:gd name="connsiteY5" fmla="*/ 102556 h 212770"/>
              <a:gd name="connsiteX6" fmla="*/ 205907 w 203519"/>
              <a:gd name="connsiteY6" fmla="*/ 94230 h 212770"/>
              <a:gd name="connsiteX7" fmla="*/ 15893 w 203519"/>
              <a:gd name="connsiteY7" fmla="*/ 6717 h 212770"/>
              <a:gd name="connsiteX8" fmla="*/ 68901 w 203519"/>
              <a:gd name="connsiteY8" fmla="*/ 209126 h 212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519" h="212770">
                <a:moveTo>
                  <a:pt x="68901" y="209126"/>
                </a:moveTo>
                <a:cubicBezTo>
                  <a:pt x="131344" y="221060"/>
                  <a:pt x="117006" y="144278"/>
                  <a:pt x="88698" y="144555"/>
                </a:cubicBezTo>
                <a:cubicBezTo>
                  <a:pt x="96006" y="203298"/>
                  <a:pt x="10343" y="187665"/>
                  <a:pt x="27827" y="123186"/>
                </a:cubicBezTo>
                <a:cubicBezTo>
                  <a:pt x="34025" y="100151"/>
                  <a:pt x="57245" y="86275"/>
                  <a:pt x="84257" y="88402"/>
                </a:cubicBezTo>
                <a:cubicBezTo>
                  <a:pt x="86940" y="61482"/>
                  <a:pt x="104517" y="41038"/>
                  <a:pt x="128384" y="38910"/>
                </a:cubicBezTo>
                <a:cubicBezTo>
                  <a:pt x="194898" y="32990"/>
                  <a:pt x="195453" y="119948"/>
                  <a:pt x="138838" y="102556"/>
                </a:cubicBezTo>
                <a:cubicBezTo>
                  <a:pt x="133657" y="130402"/>
                  <a:pt x="206832" y="157784"/>
                  <a:pt x="205907" y="94230"/>
                </a:cubicBezTo>
                <a:cubicBezTo>
                  <a:pt x="204427" y="-3367"/>
                  <a:pt x="133102" y="28549"/>
                  <a:pt x="15893" y="6717"/>
                </a:cubicBezTo>
                <a:cubicBezTo>
                  <a:pt x="16818" y="126054"/>
                  <a:pt x="-26939" y="190810"/>
                  <a:pt x="68901" y="209126"/>
                </a:cubicBezTo>
                <a:close/>
              </a:path>
            </a:pathLst>
          </a:custGeom>
          <a:solidFill>
            <a:schemeClr val="accent4"/>
          </a:solidFill>
          <a:ln w="9221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4" name="Freeform: Shape 773">
            <a:extLst>
              <a:ext uri="{FF2B5EF4-FFF2-40B4-BE49-F238E27FC236}">
                <a16:creationId xmlns="" xmlns:a16="http://schemas.microsoft.com/office/drawing/2014/main" id="{6150B3B1-2CD3-4D5A-929C-6C304784873C}"/>
              </a:ext>
            </a:extLst>
          </p:cNvPr>
          <p:cNvSpPr/>
          <p:nvPr/>
        </p:nvSpPr>
        <p:spPr>
          <a:xfrm>
            <a:off x="-6717" y="2610419"/>
            <a:ext cx="55505" cy="314531"/>
          </a:xfrm>
          <a:custGeom>
            <a:avLst/>
            <a:gdLst>
              <a:gd name="connsiteX0" fmla="*/ 6717 w 55505"/>
              <a:gd name="connsiteY0" fmla="*/ 6717 h 314530"/>
              <a:gd name="connsiteX1" fmla="*/ 6717 w 55505"/>
              <a:gd name="connsiteY1" fmla="*/ 6717 h 314530"/>
              <a:gd name="connsiteX2" fmla="*/ 6717 w 55505"/>
              <a:gd name="connsiteY2" fmla="*/ 309869 h 314530"/>
              <a:gd name="connsiteX3" fmla="*/ 6717 w 55505"/>
              <a:gd name="connsiteY3" fmla="*/ 6717 h 314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05" h="314530">
                <a:moveTo>
                  <a:pt x="6717" y="6717"/>
                </a:moveTo>
                <a:cubicBezTo>
                  <a:pt x="6717" y="6717"/>
                  <a:pt x="6717" y="6717"/>
                  <a:pt x="6717" y="6717"/>
                </a:cubicBezTo>
                <a:lnTo>
                  <a:pt x="6717" y="309869"/>
                </a:lnTo>
                <a:cubicBezTo>
                  <a:pt x="80354" y="182021"/>
                  <a:pt x="50103" y="76284"/>
                  <a:pt x="6717" y="6717"/>
                </a:cubicBezTo>
                <a:close/>
              </a:path>
            </a:pathLst>
          </a:custGeom>
          <a:solidFill>
            <a:srgbClr val="0C99EF"/>
          </a:solidFill>
          <a:ln w="9221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5" name="Freeform: Shape 774">
            <a:extLst>
              <a:ext uri="{FF2B5EF4-FFF2-40B4-BE49-F238E27FC236}">
                <a16:creationId xmlns="" xmlns:a16="http://schemas.microsoft.com/office/drawing/2014/main" id="{B6E8B744-21A7-442B-801A-C46826811CEE}"/>
              </a:ext>
            </a:extLst>
          </p:cNvPr>
          <p:cNvSpPr/>
          <p:nvPr/>
        </p:nvSpPr>
        <p:spPr>
          <a:xfrm>
            <a:off x="27308" y="2093756"/>
            <a:ext cx="129513" cy="296029"/>
          </a:xfrm>
          <a:custGeom>
            <a:avLst/>
            <a:gdLst>
              <a:gd name="connsiteX0" fmla="*/ 117284 w 129512"/>
              <a:gd name="connsiteY0" fmla="*/ 6717 h 296028"/>
              <a:gd name="connsiteX1" fmla="*/ 13581 w 129512"/>
              <a:gd name="connsiteY1" fmla="*/ 291644 h 296028"/>
              <a:gd name="connsiteX2" fmla="*/ 117284 w 129512"/>
              <a:gd name="connsiteY2" fmla="*/ 6717 h 29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512" h="296028">
                <a:moveTo>
                  <a:pt x="117284" y="6717"/>
                </a:moveTo>
                <a:cubicBezTo>
                  <a:pt x="4330" y="101724"/>
                  <a:pt x="-3441" y="211439"/>
                  <a:pt x="13581" y="291644"/>
                </a:cubicBezTo>
                <a:cubicBezTo>
                  <a:pt x="78152" y="241135"/>
                  <a:pt x="142724" y="152048"/>
                  <a:pt x="117284" y="6717"/>
                </a:cubicBezTo>
                <a:close/>
              </a:path>
            </a:pathLst>
          </a:custGeom>
          <a:solidFill>
            <a:srgbClr val="0C99EF"/>
          </a:solidFill>
          <a:ln w="9221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6" name="Freeform: Shape 775">
            <a:extLst>
              <a:ext uri="{FF2B5EF4-FFF2-40B4-BE49-F238E27FC236}">
                <a16:creationId xmlns="" xmlns:a16="http://schemas.microsoft.com/office/drawing/2014/main" id="{F81766A1-80C2-4ED6-B81B-9F57738B56DB}"/>
              </a:ext>
            </a:extLst>
          </p:cNvPr>
          <p:cNvSpPr/>
          <p:nvPr/>
        </p:nvSpPr>
        <p:spPr>
          <a:xfrm>
            <a:off x="96801" y="2279607"/>
            <a:ext cx="268276" cy="157265"/>
          </a:xfrm>
          <a:custGeom>
            <a:avLst/>
            <a:gdLst>
              <a:gd name="connsiteX0" fmla="*/ 269257 w 268276"/>
              <a:gd name="connsiteY0" fmla="*/ 6717 h 157265"/>
              <a:gd name="connsiteX1" fmla="*/ 6717 w 268276"/>
              <a:gd name="connsiteY1" fmla="*/ 158339 h 157265"/>
              <a:gd name="connsiteX2" fmla="*/ 269257 w 268276"/>
              <a:gd name="connsiteY2" fmla="*/ 6717 h 157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276" h="157265">
                <a:moveTo>
                  <a:pt x="269257" y="6717"/>
                </a:moveTo>
                <a:cubicBezTo>
                  <a:pt x="121705" y="6902"/>
                  <a:pt x="45201" y="85904"/>
                  <a:pt x="6717" y="158339"/>
                </a:cubicBezTo>
                <a:cubicBezTo>
                  <a:pt x="88587" y="161114"/>
                  <a:pt x="195343" y="134472"/>
                  <a:pt x="269257" y="6717"/>
                </a:cubicBezTo>
                <a:close/>
              </a:path>
            </a:pathLst>
          </a:custGeom>
          <a:solidFill>
            <a:srgbClr val="0C99EF"/>
          </a:solidFill>
          <a:ln w="9221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7" name="Freeform: Shape 776">
            <a:extLst>
              <a:ext uri="{FF2B5EF4-FFF2-40B4-BE49-F238E27FC236}">
                <a16:creationId xmlns="" xmlns:a16="http://schemas.microsoft.com/office/drawing/2014/main" id="{2C7BAB98-8AAA-4ABB-A3ED-49AAC821AB4A}"/>
              </a:ext>
            </a:extLst>
          </p:cNvPr>
          <p:cNvSpPr/>
          <p:nvPr/>
        </p:nvSpPr>
        <p:spPr>
          <a:xfrm>
            <a:off x="110955" y="2489665"/>
            <a:ext cx="305280" cy="101760"/>
          </a:xfrm>
          <a:custGeom>
            <a:avLst/>
            <a:gdLst>
              <a:gd name="connsiteX0" fmla="*/ 6717 w 305279"/>
              <a:gd name="connsiteY0" fmla="*/ 28764 h 101759"/>
              <a:gd name="connsiteX1" fmla="*/ 305336 w 305279"/>
              <a:gd name="connsiteY1" fmla="*/ 81402 h 101759"/>
              <a:gd name="connsiteX2" fmla="*/ 6717 w 305279"/>
              <a:gd name="connsiteY2" fmla="*/ 28764 h 101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5279" h="101759">
                <a:moveTo>
                  <a:pt x="6717" y="28764"/>
                </a:moveTo>
                <a:cubicBezTo>
                  <a:pt x="67680" y="83529"/>
                  <a:pt x="166572" y="131727"/>
                  <a:pt x="305336" y="81402"/>
                </a:cubicBezTo>
                <a:cubicBezTo>
                  <a:pt x="192105" y="-13328"/>
                  <a:pt x="82759" y="-1949"/>
                  <a:pt x="6717" y="28764"/>
                </a:cubicBezTo>
                <a:close/>
              </a:path>
            </a:pathLst>
          </a:custGeom>
          <a:solidFill>
            <a:srgbClr val="0C99EF"/>
          </a:solidFill>
          <a:ln w="9221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8" name="Freeform: Shape 777">
            <a:extLst>
              <a:ext uri="{FF2B5EF4-FFF2-40B4-BE49-F238E27FC236}">
                <a16:creationId xmlns="" xmlns:a16="http://schemas.microsoft.com/office/drawing/2014/main" id="{5C79CF7D-075F-4125-B5D9-E594BFA70158}"/>
              </a:ext>
            </a:extLst>
          </p:cNvPr>
          <p:cNvSpPr/>
          <p:nvPr/>
        </p:nvSpPr>
        <p:spPr>
          <a:xfrm>
            <a:off x="70066" y="2582481"/>
            <a:ext cx="203520" cy="240523"/>
          </a:xfrm>
          <a:custGeom>
            <a:avLst/>
            <a:gdLst>
              <a:gd name="connsiteX0" fmla="*/ 201633 w 203519"/>
              <a:gd name="connsiteY0" fmla="*/ 239007 h 240523"/>
              <a:gd name="connsiteX1" fmla="*/ 6717 w 203519"/>
              <a:gd name="connsiteY1" fmla="*/ 6717 h 240523"/>
              <a:gd name="connsiteX2" fmla="*/ 201633 w 203519"/>
              <a:gd name="connsiteY2" fmla="*/ 239007 h 24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19" h="240523">
                <a:moveTo>
                  <a:pt x="201633" y="239007"/>
                </a:moveTo>
                <a:cubicBezTo>
                  <a:pt x="175823" y="93675"/>
                  <a:pt x="84702" y="32157"/>
                  <a:pt x="6717" y="6717"/>
                </a:cubicBezTo>
                <a:cubicBezTo>
                  <a:pt x="18188" y="87940"/>
                  <a:pt x="62962" y="188312"/>
                  <a:pt x="201633" y="239007"/>
                </a:cubicBezTo>
                <a:close/>
              </a:path>
            </a:pathLst>
          </a:custGeom>
          <a:solidFill>
            <a:srgbClr val="0C99EF"/>
          </a:solidFill>
          <a:ln w="9221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934154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26715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chemeClr val="tx1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+mj-cs"/>
              <a:sym typeface="Segoe UI Light" panose="020B0502040204020203" pitchFamily="34" charset="0"/>
            </a:endParaRPr>
          </a:p>
        </p:txBody>
      </p:sp>
      <p:pic>
        <p:nvPicPr>
          <p:cNvPr id="286" name="Picture 285">
            <a:extLst>
              <a:ext uri="{FF2B5EF4-FFF2-40B4-BE49-F238E27FC236}">
                <a16:creationId xmlns="" xmlns:a16="http://schemas.microsoft.com/office/drawing/2014/main" id="{D5C0E31C-97E8-416D-905D-76C304DAF4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87" name="Picture 286">
            <a:extLst>
              <a:ext uri="{FF2B5EF4-FFF2-40B4-BE49-F238E27FC236}">
                <a16:creationId xmlns="" xmlns:a16="http://schemas.microsoft.com/office/drawing/2014/main" id="{8802C670-AF02-42F4-BB05-5B5C5E9D3154}"/>
              </a:ext>
            </a:extLst>
          </p:cNvPr>
          <p:cNvPicPr>
            <a:picLocks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artisticBlur/>
                    </a14:imgEffect>
                  </a14:imgLayer>
                </a14:imgProps>
              </a:ext>
            </a:extLst>
          </a:blip>
          <a:srcRect l="30417"/>
          <a:stretch/>
        </p:blipFill>
        <p:spPr>
          <a:xfrm>
            <a:off x="2781300" y="0"/>
            <a:ext cx="63627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A2504482-B9E3-46E5-9307-32B0FEBE120C}"/>
              </a:ext>
            </a:extLst>
          </p:cNvPr>
          <p:cNvSpPr>
            <a:spLocks/>
          </p:cNvSpPr>
          <p:nvPr userDrawn="1"/>
        </p:nvSpPr>
        <p:spPr>
          <a:xfrm>
            <a:off x="2781300" y="0"/>
            <a:ext cx="6362700" cy="5143500"/>
          </a:xfrm>
          <a:prstGeom prst="rect">
            <a:avLst/>
          </a:prstGeom>
          <a:solidFill>
            <a:schemeClr val="tx2">
              <a:lumMod val="50000"/>
              <a:alpha val="6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807160" y="464820"/>
            <a:ext cx="4568297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4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01073" y="464820"/>
            <a:ext cx="1798320" cy="1798320"/>
          </a:xfrm>
          <a:prstGeom prst="rect">
            <a:avLst/>
          </a:prstGeom>
          <a:effectLst>
            <a:outerShdw blurRad="88900" sx="102000" sy="102000" algn="ctr" rotWithShape="0">
              <a:prstClr val="black">
                <a:alpha val="13000"/>
              </a:prstClr>
            </a:outerShdw>
          </a:effectLst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7C5FE982-24AC-46AB-B662-CE4E0D4D885F}"/>
              </a:ext>
            </a:extLst>
          </p:cNvPr>
          <p:cNvGrpSpPr/>
          <p:nvPr userDrawn="1"/>
        </p:nvGrpSpPr>
        <p:grpSpPr>
          <a:xfrm>
            <a:off x="2600466" y="0"/>
            <a:ext cx="438150" cy="5143500"/>
            <a:chOff x="2600466" y="-92848"/>
            <a:chExt cx="438150" cy="5143500"/>
          </a:xfrm>
        </p:grpSpPr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F6DECDE6-35C3-4FDB-87BC-AF26C850AE35}"/>
                </a:ext>
              </a:extLst>
            </p:cNvPr>
            <p:cNvSpPr/>
            <p:nvPr userDrawn="1"/>
          </p:nvSpPr>
          <p:spPr>
            <a:xfrm>
              <a:off x="2600466" y="-92848"/>
              <a:ext cx="438150" cy="5143500"/>
            </a:xfrm>
            <a:prstGeom prst="rect">
              <a:avLst/>
            </a:pr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8100000" scaled="1"/>
              <a:tileRect/>
            </a:gra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dirty="0" err="1">
                <a:solidFill>
                  <a:schemeClr val="tx1"/>
                </a:solidFill>
                <a:latin typeface="Arial" charset="0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="" xmlns:a16="http://schemas.microsoft.com/office/drawing/2014/main" id="{5D5212CA-AA69-41C8-9529-D0F338B3F336}"/>
                </a:ext>
              </a:extLst>
            </p:cNvPr>
            <p:cNvGrpSpPr/>
            <p:nvPr userDrawn="1"/>
          </p:nvGrpSpPr>
          <p:grpSpPr>
            <a:xfrm flipH="1">
              <a:off x="2668262" y="-92848"/>
              <a:ext cx="302559" cy="5143500"/>
              <a:chOff x="2798391" y="-1764818"/>
              <a:chExt cx="251568" cy="4276656"/>
            </a:xfrm>
          </p:grpSpPr>
          <p:sp>
            <p:nvSpPr>
              <p:cNvPr id="289" name="Graphic 1">
                <a:extLst>
                  <a:ext uri="{FF2B5EF4-FFF2-40B4-BE49-F238E27FC236}">
                    <a16:creationId xmlns="" xmlns:a16="http://schemas.microsoft.com/office/drawing/2014/main" id="{D95CB84A-A9FF-49A1-BA6B-44CA2895DD34}"/>
                  </a:ext>
                </a:extLst>
              </p:cNvPr>
              <p:cNvSpPr/>
              <p:nvPr userDrawn="1"/>
            </p:nvSpPr>
            <p:spPr>
              <a:xfrm>
                <a:off x="2798391" y="226027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292" name="Graphic 1">
                <a:extLst>
                  <a:ext uri="{FF2B5EF4-FFF2-40B4-BE49-F238E27FC236}">
                    <a16:creationId xmlns="" xmlns:a16="http://schemas.microsoft.com/office/drawing/2014/main" id="{6B666A9A-D58D-4F1A-8A65-E494706C692C}"/>
                  </a:ext>
                </a:extLst>
              </p:cNvPr>
              <p:cNvSpPr/>
              <p:nvPr userDrawn="1"/>
            </p:nvSpPr>
            <p:spPr>
              <a:xfrm>
                <a:off x="2798391" y="200870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293" name="Graphic 1">
                <a:extLst>
                  <a:ext uri="{FF2B5EF4-FFF2-40B4-BE49-F238E27FC236}">
                    <a16:creationId xmlns="" xmlns:a16="http://schemas.microsoft.com/office/drawing/2014/main" id="{E19C24C8-FDC1-4760-8A0B-AB164144AFD4}"/>
                  </a:ext>
                </a:extLst>
              </p:cNvPr>
              <p:cNvSpPr/>
              <p:nvPr userDrawn="1"/>
            </p:nvSpPr>
            <p:spPr>
              <a:xfrm>
                <a:off x="2798391" y="175713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294" name="Graphic 1">
                <a:extLst>
                  <a:ext uri="{FF2B5EF4-FFF2-40B4-BE49-F238E27FC236}">
                    <a16:creationId xmlns="" xmlns:a16="http://schemas.microsoft.com/office/drawing/2014/main" id="{B8C6CE6A-184C-492F-89D6-34F137AB863A}"/>
                  </a:ext>
                </a:extLst>
              </p:cNvPr>
              <p:cNvSpPr/>
              <p:nvPr userDrawn="1"/>
            </p:nvSpPr>
            <p:spPr>
              <a:xfrm>
                <a:off x="2798391" y="150556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295" name="Graphic 1">
                <a:extLst>
                  <a:ext uri="{FF2B5EF4-FFF2-40B4-BE49-F238E27FC236}">
                    <a16:creationId xmlns="" xmlns:a16="http://schemas.microsoft.com/office/drawing/2014/main" id="{8AC01F60-9300-4E4F-B5A9-3B5970B2ED3F}"/>
                  </a:ext>
                </a:extLst>
              </p:cNvPr>
              <p:cNvSpPr/>
              <p:nvPr userDrawn="1"/>
            </p:nvSpPr>
            <p:spPr>
              <a:xfrm>
                <a:off x="2798391" y="125399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296" name="Graphic 1">
                <a:extLst>
                  <a:ext uri="{FF2B5EF4-FFF2-40B4-BE49-F238E27FC236}">
                    <a16:creationId xmlns="" xmlns:a16="http://schemas.microsoft.com/office/drawing/2014/main" id="{C5FB2727-788A-48D5-9F2C-85813C258BF4}"/>
                  </a:ext>
                </a:extLst>
              </p:cNvPr>
              <p:cNvSpPr/>
              <p:nvPr userDrawn="1"/>
            </p:nvSpPr>
            <p:spPr>
              <a:xfrm>
                <a:off x="2798391" y="100243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297" name="Graphic 1">
                <a:extLst>
                  <a:ext uri="{FF2B5EF4-FFF2-40B4-BE49-F238E27FC236}">
                    <a16:creationId xmlns="" xmlns:a16="http://schemas.microsoft.com/office/drawing/2014/main" id="{5E0FA2EB-F9FC-4E78-B34A-63146327F1AE}"/>
                  </a:ext>
                </a:extLst>
              </p:cNvPr>
              <p:cNvSpPr/>
              <p:nvPr userDrawn="1"/>
            </p:nvSpPr>
            <p:spPr>
              <a:xfrm>
                <a:off x="2798391" y="75086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298" name="Graphic 1">
                <a:extLst>
                  <a:ext uri="{FF2B5EF4-FFF2-40B4-BE49-F238E27FC236}">
                    <a16:creationId xmlns="" xmlns:a16="http://schemas.microsoft.com/office/drawing/2014/main" id="{F7BDA1C1-8A0F-4DCE-8DC5-3E3A79FE0180}"/>
                  </a:ext>
                </a:extLst>
              </p:cNvPr>
              <p:cNvSpPr/>
              <p:nvPr userDrawn="1"/>
            </p:nvSpPr>
            <p:spPr>
              <a:xfrm>
                <a:off x="2798391" y="49929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299" name="Graphic 1">
                <a:extLst>
                  <a:ext uri="{FF2B5EF4-FFF2-40B4-BE49-F238E27FC236}">
                    <a16:creationId xmlns="" xmlns:a16="http://schemas.microsoft.com/office/drawing/2014/main" id="{C387F47A-663D-4BB4-9DBC-E05AD9E7AF38}"/>
                  </a:ext>
                </a:extLst>
              </p:cNvPr>
              <p:cNvSpPr/>
              <p:nvPr userDrawn="1"/>
            </p:nvSpPr>
            <p:spPr>
              <a:xfrm>
                <a:off x="2798391" y="24772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300" name="Graphic 1">
                <a:extLst>
                  <a:ext uri="{FF2B5EF4-FFF2-40B4-BE49-F238E27FC236}">
                    <a16:creationId xmlns="" xmlns:a16="http://schemas.microsoft.com/office/drawing/2014/main" id="{02948443-6A08-431A-82E8-3D1BE5C3346B}"/>
                  </a:ext>
                </a:extLst>
              </p:cNvPr>
              <p:cNvSpPr/>
              <p:nvPr userDrawn="1"/>
            </p:nvSpPr>
            <p:spPr>
              <a:xfrm>
                <a:off x="2798391" y="-384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301" name="Graphic 1">
                <a:extLst>
                  <a:ext uri="{FF2B5EF4-FFF2-40B4-BE49-F238E27FC236}">
                    <a16:creationId xmlns="" xmlns:a16="http://schemas.microsoft.com/office/drawing/2014/main" id="{3CB11B78-CA76-48EB-ABC8-0DE5BD56FC7F}"/>
                  </a:ext>
                </a:extLst>
              </p:cNvPr>
              <p:cNvSpPr/>
              <p:nvPr userDrawn="1"/>
            </p:nvSpPr>
            <p:spPr>
              <a:xfrm>
                <a:off x="2798391" y="-25541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302" name="Graphic 1">
                <a:extLst>
                  <a:ext uri="{FF2B5EF4-FFF2-40B4-BE49-F238E27FC236}">
                    <a16:creationId xmlns="" xmlns:a16="http://schemas.microsoft.com/office/drawing/2014/main" id="{A2741F3B-DB3F-457C-8CE2-2C0124C54A79}"/>
                  </a:ext>
                </a:extLst>
              </p:cNvPr>
              <p:cNvSpPr/>
              <p:nvPr userDrawn="1"/>
            </p:nvSpPr>
            <p:spPr>
              <a:xfrm>
                <a:off x="2798391" y="-50697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303" name="Graphic 1">
                <a:extLst>
                  <a:ext uri="{FF2B5EF4-FFF2-40B4-BE49-F238E27FC236}">
                    <a16:creationId xmlns="" xmlns:a16="http://schemas.microsoft.com/office/drawing/2014/main" id="{BA67692C-3DB8-4C6F-9FB7-681652D334F8}"/>
                  </a:ext>
                </a:extLst>
              </p:cNvPr>
              <p:cNvSpPr/>
              <p:nvPr userDrawn="1"/>
            </p:nvSpPr>
            <p:spPr>
              <a:xfrm>
                <a:off x="2798391" y="-75854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304" name="Graphic 1">
                <a:extLst>
                  <a:ext uri="{FF2B5EF4-FFF2-40B4-BE49-F238E27FC236}">
                    <a16:creationId xmlns="" xmlns:a16="http://schemas.microsoft.com/office/drawing/2014/main" id="{7BC8E877-7264-43CD-9316-ED5ECE0BB3B7}"/>
                  </a:ext>
                </a:extLst>
              </p:cNvPr>
              <p:cNvSpPr/>
              <p:nvPr userDrawn="1"/>
            </p:nvSpPr>
            <p:spPr>
              <a:xfrm>
                <a:off x="2798391" y="-101011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305" name="Graphic 1">
                <a:extLst>
                  <a:ext uri="{FF2B5EF4-FFF2-40B4-BE49-F238E27FC236}">
                    <a16:creationId xmlns="" xmlns:a16="http://schemas.microsoft.com/office/drawing/2014/main" id="{7B71A4FD-1DA8-4B61-9110-63F65F0D76DC}"/>
                  </a:ext>
                </a:extLst>
              </p:cNvPr>
              <p:cNvSpPr/>
              <p:nvPr userDrawn="1"/>
            </p:nvSpPr>
            <p:spPr>
              <a:xfrm>
                <a:off x="2798391" y="-126168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306" name="Graphic 1">
                <a:extLst>
                  <a:ext uri="{FF2B5EF4-FFF2-40B4-BE49-F238E27FC236}">
                    <a16:creationId xmlns="" xmlns:a16="http://schemas.microsoft.com/office/drawing/2014/main" id="{D54B173E-F7DF-4E52-9391-587A7B7C8B7D}"/>
                  </a:ext>
                </a:extLst>
              </p:cNvPr>
              <p:cNvSpPr/>
              <p:nvPr userDrawn="1"/>
            </p:nvSpPr>
            <p:spPr>
              <a:xfrm>
                <a:off x="2798391" y="-151325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307" name="Graphic 1">
                <a:extLst>
                  <a:ext uri="{FF2B5EF4-FFF2-40B4-BE49-F238E27FC236}">
                    <a16:creationId xmlns="" xmlns:a16="http://schemas.microsoft.com/office/drawing/2014/main" id="{B9C00394-AC68-46A9-9164-F6ECE887BC4F}"/>
                  </a:ext>
                </a:extLst>
              </p:cNvPr>
              <p:cNvSpPr/>
              <p:nvPr userDrawn="1"/>
            </p:nvSpPr>
            <p:spPr>
              <a:xfrm>
                <a:off x="2798391" y="-176481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7811814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27739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918733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28763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30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67024471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118707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4187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9000662" y="499210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baseline="0" smtClean="0">
                <a:solidFill>
                  <a:schemeClr val="tx2"/>
                </a:solidFill>
                <a:latin typeface="+mn-lt"/>
              </a:rPr>
              <a:pPr/>
              <a:t>‹#›</a:t>
            </a:fld>
            <a:endParaRPr lang="ru-RU" sz="700" b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87358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30811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11652348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31835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41476" y="497359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baseline="0" smtClean="0">
                <a:solidFill>
                  <a:schemeClr val="tx2"/>
                </a:solidFill>
                <a:latin typeface="+mn-lt"/>
              </a:rPr>
              <a:pPr/>
              <a:t>‹#›</a:t>
            </a:fld>
            <a:endParaRPr lang="ru-RU" sz="700" b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414807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32859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29428831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768392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34907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 userDrawn="1"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598793" cy="123527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15265720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35931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1966842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36955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30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 userDrawn="1"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07187122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1428854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39003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 userDrawn="1"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598793" cy="123527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29746037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40027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108680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5211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179541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1051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30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 userDrawn="1"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013237073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2350084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3099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23282570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44123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41476" y="497359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baseline="0" smtClean="0">
                <a:solidFill>
                  <a:schemeClr val="tx2"/>
                </a:solidFill>
                <a:latin typeface="+mn-lt"/>
              </a:rPr>
              <a:pPr/>
              <a:t>‹#›</a:t>
            </a:fld>
            <a:endParaRPr lang="ru-RU" sz="700" b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486013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5147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22693287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2074450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52"/>
            <a:ext cx="9144000" cy="514319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128471" y="1"/>
            <a:ext cx="7017149" cy="3036356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7195" name="think-cell Slide" r:id="rId5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114802" y="4811437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12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114802" y="4905645"/>
            <a:ext cx="302919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FFFFFF"/>
                </a:solidFill>
                <a:latin typeface="+mn-lt"/>
              </a:rPr>
              <a:t>Last Modified 4/23/2019 12:00 PM Central Asia Standard Time</a:t>
            </a: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114802" y="4999854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FFFFFF"/>
                </a:solidFill>
                <a:latin typeface="+mn-lt"/>
              </a:rPr>
              <a:t>Printed 19.04.2019 02:55 Central Asia Standard Time</a:t>
            </a: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314476" y="1097666"/>
            <a:ext cx="6358614" cy="37683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314476" y="2386825"/>
            <a:ext cx="6358614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314476" y="2741311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071" baseline="0" dirty="0">
                <a:solidFill>
                  <a:schemeClr val="accent6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33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314476" y="4717292"/>
            <a:ext cx="3616660" cy="376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15881" eaLnBrk="0" hangingPunct="0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Кинзи и Компания СиАйЭс"</a:t>
            </a:r>
          </a:p>
          <a:p>
            <a:pPr defTabSz="615881" eaLnBrk="0" hangingPunct="0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pic>
        <p:nvPicPr>
          <p:cNvPr id="14" name="LogoImageNewRU">
            <a:extLst>
              <a:ext uri="{FF2B5EF4-FFF2-40B4-BE49-F238E27FC236}">
                <a16:creationId xmlns="" xmlns:a16="http://schemas.microsoft.com/office/drawing/2014/main" id="{7FC00495-E778-4AA1-9825-5CBBBAC2261E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14475" y="115285"/>
            <a:ext cx="1854493" cy="13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684290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B21114B-3C78-409F-A8B9-1CE1053EDD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8219" name="think-cell Slide" r:id="rId5" imgW="360" imgH="360" progId="">
              <p:embed/>
            </p:oleObj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66901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ru-RU" sz="612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22946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866901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ru-RU" sz="612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806435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50267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154810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901899815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6235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917693490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51291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41476" y="497359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baseline="0" smtClean="0">
                <a:solidFill>
                  <a:schemeClr val="tx2"/>
                </a:solidFill>
                <a:latin typeface="+mn-lt"/>
              </a:rPr>
              <a:pPr/>
              <a:t>‹#›</a:t>
            </a:fld>
            <a:endParaRPr lang="ru-RU" sz="700" b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683143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52315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74973468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5333378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7A6E76B-7F90-4B43-B9B1-6D7D08F866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67AB9891-8C46-4D17-BB15-504A9F570E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776" indent="0" algn="ctr">
              <a:buNone/>
              <a:defRPr sz="1500"/>
            </a:lvl2pPr>
            <a:lvl3pPr marL="685562" indent="0" algn="ctr">
              <a:buNone/>
              <a:defRPr sz="1400"/>
            </a:lvl3pPr>
            <a:lvl4pPr marL="1028343" indent="0" algn="ctr">
              <a:buNone/>
              <a:defRPr sz="1200"/>
            </a:lvl4pPr>
            <a:lvl5pPr marL="1371124" indent="0" algn="ctr">
              <a:buNone/>
              <a:defRPr sz="1200"/>
            </a:lvl5pPr>
            <a:lvl6pPr marL="1713911" indent="0" algn="ctr">
              <a:buNone/>
              <a:defRPr sz="1200"/>
            </a:lvl6pPr>
            <a:lvl7pPr marL="2056685" indent="0" algn="ctr">
              <a:buNone/>
              <a:defRPr sz="1200"/>
            </a:lvl7pPr>
            <a:lvl8pPr marL="2399460" indent="0" algn="ctr">
              <a:buNone/>
              <a:defRPr sz="1200"/>
            </a:lvl8pPr>
            <a:lvl9pPr marL="2742236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D6B00EA-1FDA-4CAE-B27D-1DEFDAFD2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CB64E-DD26-47CD-9BE2-7CD825CCAA3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F4C3A33-C39B-4F99-86B8-191EFD0231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49367E81-57CA-4E6D-9179-550F1AADA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30095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B4DDEF9-7A14-4984-B000-EF219469E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21D73FBE-A1FF-4031-8D59-5FAD2CEDAA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DD70DF3-8EA4-4AFF-BBA3-3A270D159B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8FAF1-F12F-40B3-8AC8-4914D32D8BA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EF9EBAA2-FDD6-4FCA-800A-860834D49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91B1503A-1685-495C-AF42-E486F1D11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21098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CB78CDC-8BF2-4BDC-9E1F-2E03282F2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18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916D755F-A7B7-47B8-B5CC-2EBABA0A1D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77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5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3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1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91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68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46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23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19088AC-9824-4DE6-BAE2-1692A24A4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856F2-5896-44CA-A508-5057FD1E38D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2DB6FD1-2931-4EF7-BBB1-C1F9E82C3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9CEB0443-5806-4967-B4A6-4C3A5CBF2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51559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DD3CFBA-B00B-45F0-A112-C9DD4E232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6C8CC074-9537-4DFA-9FCE-18930092C7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C3A19DE0-9054-41DE-9DA4-106E958807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D8E14320-A07B-48F3-A78B-DCF86210D0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63D53-133C-4E46-A6D3-DA90B11F43E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A13471A6-3958-4799-9C11-BD0EBB85E2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988289C7-B1CC-43C4-9B6B-07F68B8D7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44380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8134E0A-2EB7-44A2-B414-10EDC7AC5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3267E80-3BE2-47AC-A379-BA862F41CC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76" indent="0">
              <a:buNone/>
              <a:defRPr sz="1500" b="1"/>
            </a:lvl2pPr>
            <a:lvl3pPr marL="685562" indent="0">
              <a:buNone/>
              <a:defRPr sz="1400" b="1"/>
            </a:lvl3pPr>
            <a:lvl4pPr marL="1028343" indent="0">
              <a:buNone/>
              <a:defRPr sz="1200" b="1"/>
            </a:lvl4pPr>
            <a:lvl5pPr marL="1371124" indent="0">
              <a:buNone/>
              <a:defRPr sz="1200" b="1"/>
            </a:lvl5pPr>
            <a:lvl6pPr marL="1713911" indent="0">
              <a:buNone/>
              <a:defRPr sz="1200" b="1"/>
            </a:lvl6pPr>
            <a:lvl7pPr marL="2056685" indent="0">
              <a:buNone/>
              <a:defRPr sz="1200" b="1"/>
            </a:lvl7pPr>
            <a:lvl8pPr marL="2399460" indent="0">
              <a:buNone/>
              <a:defRPr sz="1200" b="1"/>
            </a:lvl8pPr>
            <a:lvl9pPr marL="2742236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DD0E4760-F012-4282-92B2-03E5D93588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0B4597C0-8CAB-4B6A-8ECE-3803426C1C5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76" indent="0">
              <a:buNone/>
              <a:defRPr sz="1500" b="1"/>
            </a:lvl2pPr>
            <a:lvl3pPr marL="685562" indent="0">
              <a:buNone/>
              <a:defRPr sz="1400" b="1"/>
            </a:lvl3pPr>
            <a:lvl4pPr marL="1028343" indent="0">
              <a:buNone/>
              <a:defRPr sz="1200" b="1"/>
            </a:lvl4pPr>
            <a:lvl5pPr marL="1371124" indent="0">
              <a:buNone/>
              <a:defRPr sz="1200" b="1"/>
            </a:lvl5pPr>
            <a:lvl6pPr marL="1713911" indent="0">
              <a:buNone/>
              <a:defRPr sz="1200" b="1"/>
            </a:lvl6pPr>
            <a:lvl7pPr marL="2056685" indent="0">
              <a:buNone/>
              <a:defRPr sz="1200" b="1"/>
            </a:lvl7pPr>
            <a:lvl8pPr marL="2399460" indent="0">
              <a:buNone/>
              <a:defRPr sz="1200" b="1"/>
            </a:lvl8pPr>
            <a:lvl9pPr marL="2742236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CB8343D9-BEDC-49B2-A531-633AA6F8A21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7FF1A6D8-C350-4A48-ADA5-9CC0586DD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7CF2E-ACA4-43C3-BD4F-516EC3B9099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C409397E-E9AE-4F69-82F5-990D48112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1ED167B9-45A6-47C1-A0A1-AC258518B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58462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58A51DB-DBAD-4E6B-BDA8-B9CD7DF2C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D48D77A3-6B7F-4926-A6B1-C6F35360F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994C9-1BB8-48E8-8B3F-1CAE6E94E98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634E5182-189F-41B1-B618-8F772C294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5396B1E-0C39-47BB-B58F-14B35EAB9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78447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B47C0AA2-4E7F-42F0-88A1-4B03A45345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EB789-30A3-459E-AB33-FED418A3865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22AEC0A3-0A3F-4161-89C7-788A8E8B7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7CF00910-5CE2-4C0B-A6FB-20D7A2E3E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14820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6175745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B9E854C-173F-4C12-AFD1-A8F3348EE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2E3031CD-2F6D-410A-88BE-682BBFF657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8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15F33DF3-BB0D-423A-B2D3-5F0FBB723D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76" indent="0">
              <a:buNone/>
              <a:defRPr sz="1100"/>
            </a:lvl2pPr>
            <a:lvl3pPr marL="685562" indent="0">
              <a:buNone/>
              <a:defRPr sz="900"/>
            </a:lvl3pPr>
            <a:lvl4pPr marL="1028343" indent="0">
              <a:buNone/>
              <a:defRPr sz="800"/>
            </a:lvl4pPr>
            <a:lvl5pPr marL="1371124" indent="0">
              <a:buNone/>
              <a:defRPr sz="800"/>
            </a:lvl5pPr>
            <a:lvl6pPr marL="1713911" indent="0">
              <a:buNone/>
              <a:defRPr sz="800"/>
            </a:lvl6pPr>
            <a:lvl7pPr marL="2056685" indent="0">
              <a:buNone/>
              <a:defRPr sz="800"/>
            </a:lvl7pPr>
            <a:lvl8pPr marL="2399460" indent="0">
              <a:buNone/>
              <a:defRPr sz="800"/>
            </a:lvl8pPr>
            <a:lvl9pPr marL="2742236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BC629077-09F0-4836-8BCA-B08669E45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5781D-1B4A-4885-AB50-30400618882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67FDACA6-9A1F-442D-B91F-5FF7A54F0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13F9EC33-BFD2-4BDC-8BF5-A7133CF93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163836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1112987-35D7-4138-9204-F0B015CD1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6D7DFFEC-BCDD-4EE1-8ECB-D50EBF125E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8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776" indent="0">
              <a:buNone/>
              <a:defRPr sz="2100"/>
            </a:lvl2pPr>
            <a:lvl3pPr marL="685562" indent="0">
              <a:buNone/>
              <a:defRPr sz="1800"/>
            </a:lvl3pPr>
            <a:lvl4pPr marL="1028343" indent="0">
              <a:buNone/>
              <a:defRPr sz="1500"/>
            </a:lvl4pPr>
            <a:lvl5pPr marL="1371124" indent="0">
              <a:buNone/>
              <a:defRPr sz="1500"/>
            </a:lvl5pPr>
            <a:lvl6pPr marL="1713911" indent="0">
              <a:buNone/>
              <a:defRPr sz="1500"/>
            </a:lvl6pPr>
            <a:lvl7pPr marL="2056685" indent="0">
              <a:buNone/>
              <a:defRPr sz="1500"/>
            </a:lvl7pPr>
            <a:lvl8pPr marL="2399460" indent="0">
              <a:buNone/>
              <a:defRPr sz="1500"/>
            </a:lvl8pPr>
            <a:lvl9pPr marL="2742236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80043286-3F48-49C0-98B0-C8DEBFA1A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76" indent="0">
              <a:buNone/>
              <a:defRPr sz="1100"/>
            </a:lvl2pPr>
            <a:lvl3pPr marL="685562" indent="0">
              <a:buNone/>
              <a:defRPr sz="900"/>
            </a:lvl3pPr>
            <a:lvl4pPr marL="1028343" indent="0">
              <a:buNone/>
              <a:defRPr sz="800"/>
            </a:lvl4pPr>
            <a:lvl5pPr marL="1371124" indent="0">
              <a:buNone/>
              <a:defRPr sz="800"/>
            </a:lvl5pPr>
            <a:lvl6pPr marL="1713911" indent="0">
              <a:buNone/>
              <a:defRPr sz="800"/>
            </a:lvl6pPr>
            <a:lvl7pPr marL="2056685" indent="0">
              <a:buNone/>
              <a:defRPr sz="800"/>
            </a:lvl7pPr>
            <a:lvl8pPr marL="2399460" indent="0">
              <a:buNone/>
              <a:defRPr sz="800"/>
            </a:lvl8pPr>
            <a:lvl9pPr marL="2742236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95343A37-951F-4312-9330-FB4E0E4D8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A46AB4-8935-4556-B1C2-68C38384373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AC63628B-7E4B-48DE-8BD8-A822F866D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2505FDC9-AF92-430C-856E-5078C1B93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96198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B494254-E83C-4B81-957C-D44B0DE0D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30830133-2ABA-44BC-9239-37840208ED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4F67B94-4CF0-4BB8-8DE8-2C9CB924FD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6F8A4-1A3A-4C3B-A43F-7142398BD34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84B4A2-880B-4995-AFF0-5FC9B8F20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5AA4B97-96E6-4AF4-8172-90A2E36F2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18000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C3351E93-0741-48A2-8C12-F021B95FF7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273858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7D984228-0427-4E9D-B2A7-95E9511424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273858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DD376DE4-EA5B-4716-AEEE-57270B662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39CA-DADD-47EE-96A4-52F55B0547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9/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7B6A8AD-EF92-482C-A075-D81C26FFC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52DB372-29E2-491F-A328-31FBAE920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86301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7"/>
          <a:ext cx="1620" cy="1215"/>
        </p:xfrm>
        <a:graphic>
          <a:graphicData uri="http://schemas.openxmlformats.org/presentationml/2006/ole">
            <p:oleObj spid="_x0000_s70737" name="think-cell Slide" r:id="rId5" imgW="0" imgH="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9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545" fontAlgn="auto">
              <a:defRPr/>
            </a:pPr>
            <a:endParaRPr lang="en-US" sz="1400" dirty="0">
              <a:solidFill>
                <a:prstClr val="black"/>
              </a:solidFill>
              <a:latin typeface="Segoe UI Black" panose="020B0A02040204020203" pitchFamily="34" charset="0"/>
              <a:ea typeface="ＭＳ Ｐゴシック" panose="020B0600070205080204" pitchFamily="34" charset="-128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26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477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rgbClr val="808080"/>
              </a:solidFill>
              <a:latin typeface="Nunito Sans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="" xmlns:a16="http://schemas.microsoft.com/office/drawing/2014/main" id="{9754C58B-434D-4738-B6A6-8F6456D5B98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5" y="4963983"/>
            <a:ext cx="128642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685545" fontAlgn="auto">
              <a:spcBef>
                <a:spcPts val="0"/>
              </a:spcBef>
              <a:spcAft>
                <a:spcPts val="0"/>
              </a:spcAft>
              <a:defRPr/>
            </a:pPr>
            <a:fld id="{42C328C1-A84F-4A39-A664-DBA00541A8C6}" type="slidenum">
              <a:rPr 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defTabSz="68554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49345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лайд">
  <p:cSld name="Слайд">
    <p:bg>
      <p:bgPr>
        <a:solidFill>
          <a:srgbClr val="FFFFFF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/>
          <p:nvPr/>
        </p:nvSpPr>
        <p:spPr>
          <a:xfrm>
            <a:off x="8865142" y="4988873"/>
            <a:ext cx="371324" cy="161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5" tIns="45685" rIns="91395" bIns="45685" anchor="ctr" anchorCtr="0">
            <a:noAutofit/>
          </a:bodyPr>
          <a:lstStyle/>
          <a:p>
            <a:pPr algn="ctr" defTabSz="685562" fontAlgn="auto">
              <a:spcBef>
                <a:spcPts val="0"/>
              </a:spcBef>
              <a:spcAft>
                <a:spcPts val="0"/>
              </a:spcAft>
            </a:pPr>
            <a:fld id="{00000000-1234-1234-1234-123412341234}" type="slidenum">
              <a:rPr lang="ru-RU" sz="80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pPr algn="ctr" defTabSz="68556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sz="800">
              <a:solidFill>
                <a:prstClr val="black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58823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162818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9000662" y="499210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baseline="0" smtClean="0">
                <a:solidFill>
                  <a:schemeClr val="tx2"/>
                </a:solidFill>
                <a:latin typeface="+mn-lt"/>
              </a:rPr>
              <a:pPr/>
              <a:t>‹#›</a:t>
            </a:fld>
            <a:endParaRPr lang="ru-RU" sz="700" b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87358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41049926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73770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61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rgbClr val="00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dirty="0">
                <a:solidFill>
                  <a:srgbClr val="FFFFFF"/>
                </a:solidFill>
                <a:latin typeface="Arial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18573120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74794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54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7359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smtClean="0">
                <a:solidFill>
                  <a:srgbClr val="0070CE"/>
                </a:solidFill>
              </a:rPr>
              <a:pPr/>
              <a:t>‹#›</a:t>
            </a:fld>
            <a:endParaRPr lang="ru-RU" sz="700" b="1" dirty="0">
              <a:solidFill>
                <a:srgbClr val="0070CE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6812954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75818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54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9000662" y="499210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smtClean="0">
                <a:solidFill>
                  <a:srgbClr val="0070CE"/>
                </a:solidFill>
              </a:rPr>
              <a:pPr/>
              <a:t>‹#›</a:t>
            </a:fld>
            <a:endParaRPr lang="ru-RU" sz="700" b="1" dirty="0">
              <a:solidFill>
                <a:srgbClr val="0070CE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2111596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fld id="{A8AB7962-58FA-4E9D-B33F-B08312D421B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228491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76842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54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5772790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97390678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77866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54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612" smtClean="0">
                <a:solidFill>
                  <a:srgbClr val="FFFFFF"/>
                </a:solidFill>
              </a:rPr>
              <a:pPr/>
              <a:t>‹#›</a:t>
            </a:fld>
            <a:endParaRPr lang="ru-RU" sz="612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270062006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832631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8283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24" dirty="0">
                <a:latin typeface="+mn-lt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224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1293816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9307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41476" y="497359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00" b="1" baseline="0" smtClean="0">
                <a:solidFill>
                  <a:schemeClr val="tx2"/>
                </a:solidFill>
                <a:latin typeface="+mn-lt"/>
              </a:rPr>
              <a:pPr/>
              <a:t>‹#›</a:t>
            </a:fld>
            <a:endParaRPr lang="ru-RU" sz="700" b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023873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tags" Target="../tags/tag3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42" Type="http://schemas.openxmlformats.org/officeDocument/2006/relationships/tags" Target="../tags/tag34.xml"/><Relationship Id="rId47" Type="http://schemas.openxmlformats.org/officeDocument/2006/relationships/tags" Target="../tags/tag39.xml"/><Relationship Id="rId50" Type="http://schemas.openxmlformats.org/officeDocument/2006/relationships/tags" Target="../tags/tag4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tags" Target="../tags/tag30.xml"/><Relationship Id="rId46" Type="http://schemas.openxmlformats.org/officeDocument/2006/relationships/tags" Target="../tags/tag3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41" Type="http://schemas.openxmlformats.org/officeDocument/2006/relationships/tags" Target="../tags/tag3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40" Type="http://schemas.openxmlformats.org/officeDocument/2006/relationships/tags" Target="../tags/tag32.xml"/><Relationship Id="rId45" Type="http://schemas.openxmlformats.org/officeDocument/2006/relationships/tags" Target="../tags/tag37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49" Type="http://schemas.openxmlformats.org/officeDocument/2006/relationships/tags" Target="../tags/tag41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4" Type="http://schemas.openxmlformats.org/officeDocument/2006/relationships/tags" Target="../tags/tag36.xml"/><Relationship Id="rId52" Type="http://schemas.openxmlformats.org/officeDocument/2006/relationships/tags" Target="../tags/tag44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43" Type="http://schemas.openxmlformats.org/officeDocument/2006/relationships/tags" Target="../tags/tag35.xml"/><Relationship Id="rId48" Type="http://schemas.openxmlformats.org/officeDocument/2006/relationships/tags" Target="../tags/tag40.xml"/><Relationship Id="rId8" Type="http://schemas.openxmlformats.org/officeDocument/2006/relationships/theme" Target="../theme/theme1.xml"/><Relationship Id="rId51" Type="http://schemas.openxmlformats.org/officeDocument/2006/relationships/tags" Target="../tags/tag43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tags" Target="../tags/tag429.xml"/><Relationship Id="rId18" Type="http://schemas.openxmlformats.org/officeDocument/2006/relationships/tags" Target="../tags/tag434.xml"/><Relationship Id="rId26" Type="http://schemas.openxmlformats.org/officeDocument/2006/relationships/tags" Target="../tags/tag442.xml"/><Relationship Id="rId39" Type="http://schemas.openxmlformats.org/officeDocument/2006/relationships/tags" Target="../tags/tag455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437.xml"/><Relationship Id="rId34" Type="http://schemas.openxmlformats.org/officeDocument/2006/relationships/tags" Target="../tags/tag450.xml"/><Relationship Id="rId42" Type="http://schemas.openxmlformats.org/officeDocument/2006/relationships/tags" Target="../tags/tag458.xml"/><Relationship Id="rId47" Type="http://schemas.openxmlformats.org/officeDocument/2006/relationships/tags" Target="../tags/tag463.xml"/><Relationship Id="rId50" Type="http://schemas.openxmlformats.org/officeDocument/2006/relationships/oleObject" Target="../embeddings/oleObject41.bin"/><Relationship Id="rId7" Type="http://schemas.openxmlformats.org/officeDocument/2006/relationships/tags" Target="../tags/tag423.xml"/><Relationship Id="rId12" Type="http://schemas.openxmlformats.org/officeDocument/2006/relationships/tags" Target="../tags/tag428.xml"/><Relationship Id="rId17" Type="http://schemas.openxmlformats.org/officeDocument/2006/relationships/tags" Target="../tags/tag433.xml"/><Relationship Id="rId25" Type="http://schemas.openxmlformats.org/officeDocument/2006/relationships/tags" Target="../tags/tag441.xml"/><Relationship Id="rId33" Type="http://schemas.openxmlformats.org/officeDocument/2006/relationships/tags" Target="../tags/tag449.xml"/><Relationship Id="rId38" Type="http://schemas.openxmlformats.org/officeDocument/2006/relationships/tags" Target="../tags/tag454.xml"/><Relationship Id="rId46" Type="http://schemas.openxmlformats.org/officeDocument/2006/relationships/tags" Target="../tags/tag462.xml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432.xml"/><Relationship Id="rId20" Type="http://schemas.openxmlformats.org/officeDocument/2006/relationships/tags" Target="../tags/tag436.xml"/><Relationship Id="rId29" Type="http://schemas.openxmlformats.org/officeDocument/2006/relationships/tags" Target="../tags/tag445.xml"/><Relationship Id="rId41" Type="http://schemas.openxmlformats.org/officeDocument/2006/relationships/tags" Target="../tags/tag457.xml"/><Relationship Id="rId1" Type="http://schemas.openxmlformats.org/officeDocument/2006/relationships/slideLayout" Target="../slideLayouts/slideLayout42.xml"/><Relationship Id="rId6" Type="http://schemas.openxmlformats.org/officeDocument/2006/relationships/vmlDrawing" Target="../drawings/vmlDrawing41.vml"/><Relationship Id="rId11" Type="http://schemas.openxmlformats.org/officeDocument/2006/relationships/tags" Target="../tags/tag427.xml"/><Relationship Id="rId24" Type="http://schemas.openxmlformats.org/officeDocument/2006/relationships/tags" Target="../tags/tag440.xml"/><Relationship Id="rId32" Type="http://schemas.openxmlformats.org/officeDocument/2006/relationships/tags" Target="../tags/tag448.xml"/><Relationship Id="rId37" Type="http://schemas.openxmlformats.org/officeDocument/2006/relationships/tags" Target="../tags/tag453.xml"/><Relationship Id="rId40" Type="http://schemas.openxmlformats.org/officeDocument/2006/relationships/tags" Target="../tags/tag456.xml"/><Relationship Id="rId45" Type="http://schemas.openxmlformats.org/officeDocument/2006/relationships/tags" Target="../tags/tag461.xml"/><Relationship Id="rId5" Type="http://schemas.openxmlformats.org/officeDocument/2006/relationships/theme" Target="../theme/theme10.xml"/><Relationship Id="rId15" Type="http://schemas.openxmlformats.org/officeDocument/2006/relationships/tags" Target="../tags/tag431.xml"/><Relationship Id="rId23" Type="http://schemas.openxmlformats.org/officeDocument/2006/relationships/tags" Target="../tags/tag439.xml"/><Relationship Id="rId28" Type="http://schemas.openxmlformats.org/officeDocument/2006/relationships/tags" Target="../tags/tag444.xml"/><Relationship Id="rId36" Type="http://schemas.openxmlformats.org/officeDocument/2006/relationships/tags" Target="../tags/tag452.xml"/><Relationship Id="rId49" Type="http://schemas.openxmlformats.org/officeDocument/2006/relationships/tags" Target="../tags/tag465.xml"/><Relationship Id="rId10" Type="http://schemas.openxmlformats.org/officeDocument/2006/relationships/tags" Target="../tags/tag426.xml"/><Relationship Id="rId19" Type="http://schemas.openxmlformats.org/officeDocument/2006/relationships/tags" Target="../tags/tag435.xml"/><Relationship Id="rId31" Type="http://schemas.openxmlformats.org/officeDocument/2006/relationships/tags" Target="../tags/tag447.xml"/><Relationship Id="rId44" Type="http://schemas.openxmlformats.org/officeDocument/2006/relationships/tags" Target="../tags/tag460.xml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425.xml"/><Relationship Id="rId14" Type="http://schemas.openxmlformats.org/officeDocument/2006/relationships/tags" Target="../tags/tag430.xml"/><Relationship Id="rId22" Type="http://schemas.openxmlformats.org/officeDocument/2006/relationships/tags" Target="../tags/tag438.xml"/><Relationship Id="rId27" Type="http://schemas.openxmlformats.org/officeDocument/2006/relationships/tags" Target="../tags/tag443.xml"/><Relationship Id="rId30" Type="http://schemas.openxmlformats.org/officeDocument/2006/relationships/tags" Target="../tags/tag446.xml"/><Relationship Id="rId35" Type="http://schemas.openxmlformats.org/officeDocument/2006/relationships/tags" Target="../tags/tag451.xml"/><Relationship Id="rId43" Type="http://schemas.openxmlformats.org/officeDocument/2006/relationships/tags" Target="../tags/tag459.xml"/><Relationship Id="rId48" Type="http://schemas.openxmlformats.org/officeDocument/2006/relationships/tags" Target="../tags/tag464.xml"/><Relationship Id="rId8" Type="http://schemas.openxmlformats.org/officeDocument/2006/relationships/tags" Target="../tags/tag42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13" Type="http://schemas.openxmlformats.org/officeDocument/2006/relationships/tags" Target="../tags/tag479.xml"/><Relationship Id="rId18" Type="http://schemas.openxmlformats.org/officeDocument/2006/relationships/tags" Target="../tags/tag484.xml"/><Relationship Id="rId26" Type="http://schemas.openxmlformats.org/officeDocument/2006/relationships/tags" Target="../tags/tag492.xml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487.xml"/><Relationship Id="rId34" Type="http://schemas.openxmlformats.org/officeDocument/2006/relationships/tags" Target="../tags/tag500.xml"/><Relationship Id="rId7" Type="http://schemas.openxmlformats.org/officeDocument/2006/relationships/tags" Target="../tags/tag473.xml"/><Relationship Id="rId12" Type="http://schemas.openxmlformats.org/officeDocument/2006/relationships/tags" Target="../tags/tag478.xml"/><Relationship Id="rId17" Type="http://schemas.openxmlformats.org/officeDocument/2006/relationships/tags" Target="../tags/tag483.xml"/><Relationship Id="rId25" Type="http://schemas.openxmlformats.org/officeDocument/2006/relationships/tags" Target="../tags/tag491.xml"/><Relationship Id="rId33" Type="http://schemas.openxmlformats.org/officeDocument/2006/relationships/tags" Target="../tags/tag499.xml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482.xml"/><Relationship Id="rId20" Type="http://schemas.openxmlformats.org/officeDocument/2006/relationships/tags" Target="../tags/tag486.xml"/><Relationship Id="rId29" Type="http://schemas.openxmlformats.org/officeDocument/2006/relationships/tags" Target="../tags/tag495.xml"/><Relationship Id="rId1" Type="http://schemas.openxmlformats.org/officeDocument/2006/relationships/slideLayout" Target="../slideLayouts/slideLayout46.xml"/><Relationship Id="rId6" Type="http://schemas.openxmlformats.org/officeDocument/2006/relationships/tags" Target="../tags/tag472.xml"/><Relationship Id="rId11" Type="http://schemas.openxmlformats.org/officeDocument/2006/relationships/tags" Target="../tags/tag477.xml"/><Relationship Id="rId24" Type="http://schemas.openxmlformats.org/officeDocument/2006/relationships/tags" Target="../tags/tag490.xml"/><Relationship Id="rId32" Type="http://schemas.openxmlformats.org/officeDocument/2006/relationships/tags" Target="../tags/tag498.xml"/><Relationship Id="rId5" Type="http://schemas.openxmlformats.org/officeDocument/2006/relationships/vmlDrawing" Target="../drawings/vmlDrawing45.vml"/><Relationship Id="rId15" Type="http://schemas.openxmlformats.org/officeDocument/2006/relationships/tags" Target="../tags/tag481.xml"/><Relationship Id="rId23" Type="http://schemas.openxmlformats.org/officeDocument/2006/relationships/tags" Target="../tags/tag489.xml"/><Relationship Id="rId28" Type="http://schemas.openxmlformats.org/officeDocument/2006/relationships/tags" Target="../tags/tag494.xml"/><Relationship Id="rId10" Type="http://schemas.openxmlformats.org/officeDocument/2006/relationships/tags" Target="../tags/tag476.xml"/><Relationship Id="rId19" Type="http://schemas.openxmlformats.org/officeDocument/2006/relationships/tags" Target="../tags/tag485.xml"/><Relationship Id="rId31" Type="http://schemas.openxmlformats.org/officeDocument/2006/relationships/tags" Target="../tags/tag497.xml"/><Relationship Id="rId4" Type="http://schemas.openxmlformats.org/officeDocument/2006/relationships/theme" Target="../theme/theme11.xml"/><Relationship Id="rId9" Type="http://schemas.openxmlformats.org/officeDocument/2006/relationships/tags" Target="../tags/tag475.xml"/><Relationship Id="rId14" Type="http://schemas.openxmlformats.org/officeDocument/2006/relationships/tags" Target="../tags/tag480.xml"/><Relationship Id="rId22" Type="http://schemas.openxmlformats.org/officeDocument/2006/relationships/tags" Target="../tags/tag488.xml"/><Relationship Id="rId27" Type="http://schemas.openxmlformats.org/officeDocument/2006/relationships/tags" Target="../tags/tag493.xml"/><Relationship Id="rId30" Type="http://schemas.openxmlformats.org/officeDocument/2006/relationships/tags" Target="../tags/tag496.xml"/><Relationship Id="rId35" Type="http://schemas.openxmlformats.org/officeDocument/2006/relationships/oleObject" Target="../embeddings/oleObject45.bin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tags" Target="../tags/tag511.xml"/><Relationship Id="rId18" Type="http://schemas.openxmlformats.org/officeDocument/2006/relationships/tags" Target="../tags/tag516.xml"/><Relationship Id="rId26" Type="http://schemas.openxmlformats.org/officeDocument/2006/relationships/tags" Target="../tags/tag524.xml"/><Relationship Id="rId39" Type="http://schemas.openxmlformats.org/officeDocument/2006/relationships/tags" Target="../tags/tag537.xml"/><Relationship Id="rId3" Type="http://schemas.openxmlformats.org/officeDocument/2006/relationships/slideLayout" Target="../slideLayouts/slideLayout51.xml"/><Relationship Id="rId21" Type="http://schemas.openxmlformats.org/officeDocument/2006/relationships/tags" Target="../tags/tag519.xml"/><Relationship Id="rId34" Type="http://schemas.openxmlformats.org/officeDocument/2006/relationships/tags" Target="../tags/tag532.xml"/><Relationship Id="rId42" Type="http://schemas.openxmlformats.org/officeDocument/2006/relationships/tags" Target="../tags/tag540.xml"/><Relationship Id="rId47" Type="http://schemas.openxmlformats.org/officeDocument/2006/relationships/tags" Target="../tags/tag545.xml"/><Relationship Id="rId50" Type="http://schemas.openxmlformats.org/officeDocument/2006/relationships/oleObject" Target="../embeddings/oleObject48.bin"/><Relationship Id="rId7" Type="http://schemas.openxmlformats.org/officeDocument/2006/relationships/tags" Target="../tags/tag505.xml"/><Relationship Id="rId12" Type="http://schemas.openxmlformats.org/officeDocument/2006/relationships/tags" Target="../tags/tag510.xml"/><Relationship Id="rId17" Type="http://schemas.openxmlformats.org/officeDocument/2006/relationships/tags" Target="../tags/tag515.xml"/><Relationship Id="rId25" Type="http://schemas.openxmlformats.org/officeDocument/2006/relationships/tags" Target="../tags/tag523.xml"/><Relationship Id="rId33" Type="http://schemas.openxmlformats.org/officeDocument/2006/relationships/tags" Target="../tags/tag531.xml"/><Relationship Id="rId38" Type="http://schemas.openxmlformats.org/officeDocument/2006/relationships/tags" Target="../tags/tag536.xml"/><Relationship Id="rId46" Type="http://schemas.openxmlformats.org/officeDocument/2006/relationships/tags" Target="../tags/tag544.xml"/><Relationship Id="rId2" Type="http://schemas.openxmlformats.org/officeDocument/2006/relationships/slideLayout" Target="../slideLayouts/slideLayout50.xml"/><Relationship Id="rId16" Type="http://schemas.openxmlformats.org/officeDocument/2006/relationships/tags" Target="../tags/tag514.xml"/><Relationship Id="rId20" Type="http://schemas.openxmlformats.org/officeDocument/2006/relationships/tags" Target="../tags/tag518.xml"/><Relationship Id="rId29" Type="http://schemas.openxmlformats.org/officeDocument/2006/relationships/tags" Target="../tags/tag527.xml"/><Relationship Id="rId41" Type="http://schemas.openxmlformats.org/officeDocument/2006/relationships/tags" Target="../tags/tag539.xml"/><Relationship Id="rId1" Type="http://schemas.openxmlformats.org/officeDocument/2006/relationships/slideLayout" Target="../slideLayouts/slideLayout49.xml"/><Relationship Id="rId6" Type="http://schemas.openxmlformats.org/officeDocument/2006/relationships/vmlDrawing" Target="../drawings/vmlDrawing48.vml"/><Relationship Id="rId11" Type="http://schemas.openxmlformats.org/officeDocument/2006/relationships/tags" Target="../tags/tag509.xml"/><Relationship Id="rId24" Type="http://schemas.openxmlformats.org/officeDocument/2006/relationships/tags" Target="../tags/tag522.xml"/><Relationship Id="rId32" Type="http://schemas.openxmlformats.org/officeDocument/2006/relationships/tags" Target="../tags/tag530.xml"/><Relationship Id="rId37" Type="http://schemas.openxmlformats.org/officeDocument/2006/relationships/tags" Target="../tags/tag535.xml"/><Relationship Id="rId40" Type="http://schemas.openxmlformats.org/officeDocument/2006/relationships/tags" Target="../tags/tag538.xml"/><Relationship Id="rId45" Type="http://schemas.openxmlformats.org/officeDocument/2006/relationships/tags" Target="../tags/tag543.xml"/><Relationship Id="rId5" Type="http://schemas.openxmlformats.org/officeDocument/2006/relationships/theme" Target="../theme/theme12.xml"/><Relationship Id="rId15" Type="http://schemas.openxmlformats.org/officeDocument/2006/relationships/tags" Target="../tags/tag513.xml"/><Relationship Id="rId23" Type="http://schemas.openxmlformats.org/officeDocument/2006/relationships/tags" Target="../tags/tag521.xml"/><Relationship Id="rId28" Type="http://schemas.openxmlformats.org/officeDocument/2006/relationships/tags" Target="../tags/tag526.xml"/><Relationship Id="rId36" Type="http://schemas.openxmlformats.org/officeDocument/2006/relationships/tags" Target="../tags/tag534.xml"/><Relationship Id="rId49" Type="http://schemas.openxmlformats.org/officeDocument/2006/relationships/tags" Target="../tags/tag547.xml"/><Relationship Id="rId10" Type="http://schemas.openxmlformats.org/officeDocument/2006/relationships/tags" Target="../tags/tag508.xml"/><Relationship Id="rId19" Type="http://schemas.openxmlformats.org/officeDocument/2006/relationships/tags" Target="../tags/tag517.xml"/><Relationship Id="rId31" Type="http://schemas.openxmlformats.org/officeDocument/2006/relationships/tags" Target="../tags/tag529.xml"/><Relationship Id="rId44" Type="http://schemas.openxmlformats.org/officeDocument/2006/relationships/tags" Target="../tags/tag542.xml"/><Relationship Id="rId4" Type="http://schemas.openxmlformats.org/officeDocument/2006/relationships/slideLayout" Target="../slideLayouts/slideLayout52.xml"/><Relationship Id="rId9" Type="http://schemas.openxmlformats.org/officeDocument/2006/relationships/tags" Target="../tags/tag507.xml"/><Relationship Id="rId14" Type="http://schemas.openxmlformats.org/officeDocument/2006/relationships/tags" Target="../tags/tag512.xml"/><Relationship Id="rId22" Type="http://schemas.openxmlformats.org/officeDocument/2006/relationships/tags" Target="../tags/tag520.xml"/><Relationship Id="rId27" Type="http://schemas.openxmlformats.org/officeDocument/2006/relationships/tags" Target="../tags/tag525.xml"/><Relationship Id="rId30" Type="http://schemas.openxmlformats.org/officeDocument/2006/relationships/tags" Target="../tags/tag528.xml"/><Relationship Id="rId35" Type="http://schemas.openxmlformats.org/officeDocument/2006/relationships/tags" Target="../tags/tag533.xml"/><Relationship Id="rId43" Type="http://schemas.openxmlformats.org/officeDocument/2006/relationships/tags" Target="../tags/tag541.xml"/><Relationship Id="rId48" Type="http://schemas.openxmlformats.org/officeDocument/2006/relationships/tags" Target="../tags/tag546.xml"/><Relationship Id="rId8" Type="http://schemas.openxmlformats.org/officeDocument/2006/relationships/tags" Target="../tags/tag50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tags" Target="../tags/tag562.xml"/><Relationship Id="rId18" Type="http://schemas.openxmlformats.org/officeDocument/2006/relationships/tags" Target="../tags/tag567.xml"/><Relationship Id="rId26" Type="http://schemas.openxmlformats.org/officeDocument/2006/relationships/tags" Target="../tags/tag575.xml"/><Relationship Id="rId39" Type="http://schemas.openxmlformats.org/officeDocument/2006/relationships/tags" Target="../tags/tag588.xml"/><Relationship Id="rId3" Type="http://schemas.openxmlformats.org/officeDocument/2006/relationships/slideLayout" Target="../slideLayouts/slideLayout69.xml"/><Relationship Id="rId21" Type="http://schemas.openxmlformats.org/officeDocument/2006/relationships/tags" Target="../tags/tag570.xml"/><Relationship Id="rId34" Type="http://schemas.openxmlformats.org/officeDocument/2006/relationships/tags" Target="../tags/tag583.xml"/><Relationship Id="rId42" Type="http://schemas.openxmlformats.org/officeDocument/2006/relationships/tags" Target="../tags/tag591.xml"/><Relationship Id="rId47" Type="http://schemas.openxmlformats.org/officeDocument/2006/relationships/tags" Target="../tags/tag596.xml"/><Relationship Id="rId50" Type="http://schemas.openxmlformats.org/officeDocument/2006/relationships/tags" Target="../tags/tag599.xml"/><Relationship Id="rId7" Type="http://schemas.openxmlformats.org/officeDocument/2006/relationships/theme" Target="../theme/theme14.xml"/><Relationship Id="rId12" Type="http://schemas.openxmlformats.org/officeDocument/2006/relationships/tags" Target="../tags/tag561.xml"/><Relationship Id="rId17" Type="http://schemas.openxmlformats.org/officeDocument/2006/relationships/tags" Target="../tags/tag566.xml"/><Relationship Id="rId25" Type="http://schemas.openxmlformats.org/officeDocument/2006/relationships/tags" Target="../tags/tag574.xml"/><Relationship Id="rId33" Type="http://schemas.openxmlformats.org/officeDocument/2006/relationships/tags" Target="../tags/tag582.xml"/><Relationship Id="rId38" Type="http://schemas.openxmlformats.org/officeDocument/2006/relationships/tags" Target="../tags/tag587.xml"/><Relationship Id="rId46" Type="http://schemas.openxmlformats.org/officeDocument/2006/relationships/tags" Target="../tags/tag595.xml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565.xml"/><Relationship Id="rId20" Type="http://schemas.openxmlformats.org/officeDocument/2006/relationships/tags" Target="../tags/tag569.xml"/><Relationship Id="rId29" Type="http://schemas.openxmlformats.org/officeDocument/2006/relationships/tags" Target="../tags/tag578.xml"/><Relationship Id="rId41" Type="http://schemas.openxmlformats.org/officeDocument/2006/relationships/tags" Target="../tags/tag590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tags" Target="../tags/tag560.xml"/><Relationship Id="rId24" Type="http://schemas.openxmlformats.org/officeDocument/2006/relationships/tags" Target="../tags/tag573.xml"/><Relationship Id="rId32" Type="http://schemas.openxmlformats.org/officeDocument/2006/relationships/tags" Target="../tags/tag581.xml"/><Relationship Id="rId37" Type="http://schemas.openxmlformats.org/officeDocument/2006/relationships/tags" Target="../tags/tag586.xml"/><Relationship Id="rId40" Type="http://schemas.openxmlformats.org/officeDocument/2006/relationships/tags" Target="../tags/tag589.xml"/><Relationship Id="rId45" Type="http://schemas.openxmlformats.org/officeDocument/2006/relationships/tags" Target="../tags/tag594.xml"/><Relationship Id="rId5" Type="http://schemas.openxmlformats.org/officeDocument/2006/relationships/slideLayout" Target="../slideLayouts/slideLayout71.xml"/><Relationship Id="rId15" Type="http://schemas.openxmlformats.org/officeDocument/2006/relationships/tags" Target="../tags/tag564.xml"/><Relationship Id="rId23" Type="http://schemas.openxmlformats.org/officeDocument/2006/relationships/tags" Target="../tags/tag572.xml"/><Relationship Id="rId28" Type="http://schemas.openxmlformats.org/officeDocument/2006/relationships/tags" Target="../tags/tag577.xml"/><Relationship Id="rId36" Type="http://schemas.openxmlformats.org/officeDocument/2006/relationships/tags" Target="../tags/tag585.xml"/><Relationship Id="rId49" Type="http://schemas.openxmlformats.org/officeDocument/2006/relationships/tags" Target="../tags/tag598.xml"/><Relationship Id="rId10" Type="http://schemas.openxmlformats.org/officeDocument/2006/relationships/tags" Target="../tags/tag559.xml"/><Relationship Id="rId19" Type="http://schemas.openxmlformats.org/officeDocument/2006/relationships/tags" Target="../tags/tag568.xml"/><Relationship Id="rId31" Type="http://schemas.openxmlformats.org/officeDocument/2006/relationships/tags" Target="../tags/tag580.xml"/><Relationship Id="rId44" Type="http://schemas.openxmlformats.org/officeDocument/2006/relationships/tags" Target="../tags/tag593.xml"/><Relationship Id="rId52" Type="http://schemas.openxmlformats.org/officeDocument/2006/relationships/oleObject" Target="../embeddings/oleObject54.bin"/><Relationship Id="rId4" Type="http://schemas.openxmlformats.org/officeDocument/2006/relationships/slideLayout" Target="../slideLayouts/slideLayout70.xml"/><Relationship Id="rId9" Type="http://schemas.openxmlformats.org/officeDocument/2006/relationships/tags" Target="../tags/tag558.xml"/><Relationship Id="rId14" Type="http://schemas.openxmlformats.org/officeDocument/2006/relationships/tags" Target="../tags/tag563.xml"/><Relationship Id="rId22" Type="http://schemas.openxmlformats.org/officeDocument/2006/relationships/tags" Target="../tags/tag571.xml"/><Relationship Id="rId27" Type="http://schemas.openxmlformats.org/officeDocument/2006/relationships/tags" Target="../tags/tag576.xml"/><Relationship Id="rId30" Type="http://schemas.openxmlformats.org/officeDocument/2006/relationships/tags" Target="../tags/tag579.xml"/><Relationship Id="rId35" Type="http://schemas.openxmlformats.org/officeDocument/2006/relationships/tags" Target="../tags/tag584.xml"/><Relationship Id="rId43" Type="http://schemas.openxmlformats.org/officeDocument/2006/relationships/tags" Target="../tags/tag592.xml"/><Relationship Id="rId48" Type="http://schemas.openxmlformats.org/officeDocument/2006/relationships/tags" Target="../tags/tag597.xml"/><Relationship Id="rId8" Type="http://schemas.openxmlformats.org/officeDocument/2006/relationships/vmlDrawing" Target="../drawings/vmlDrawing54.vml"/><Relationship Id="rId51" Type="http://schemas.openxmlformats.org/officeDocument/2006/relationships/tags" Target="../tags/tag60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tags" Target="../tags/tag74.xml"/><Relationship Id="rId39" Type="http://schemas.openxmlformats.org/officeDocument/2006/relationships/tags" Target="../tags/tag87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69.xml"/><Relationship Id="rId34" Type="http://schemas.openxmlformats.org/officeDocument/2006/relationships/tags" Target="../tags/tag82.xml"/><Relationship Id="rId42" Type="http://schemas.openxmlformats.org/officeDocument/2006/relationships/tags" Target="../tags/tag90.xml"/><Relationship Id="rId47" Type="http://schemas.openxmlformats.org/officeDocument/2006/relationships/tags" Target="../tags/tag95.xml"/><Relationship Id="rId50" Type="http://schemas.openxmlformats.org/officeDocument/2006/relationships/oleObject" Target="../embeddings/oleObject7.bin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tags" Target="../tags/tag73.xml"/><Relationship Id="rId33" Type="http://schemas.openxmlformats.org/officeDocument/2006/relationships/tags" Target="../tags/tag81.xml"/><Relationship Id="rId38" Type="http://schemas.openxmlformats.org/officeDocument/2006/relationships/tags" Target="../tags/tag86.xml"/><Relationship Id="rId46" Type="http://schemas.openxmlformats.org/officeDocument/2006/relationships/tags" Target="../tags/tag94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29" Type="http://schemas.openxmlformats.org/officeDocument/2006/relationships/tags" Target="../tags/tag77.xml"/><Relationship Id="rId41" Type="http://schemas.openxmlformats.org/officeDocument/2006/relationships/tags" Target="../tags/tag8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7.v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32" Type="http://schemas.openxmlformats.org/officeDocument/2006/relationships/tags" Target="../tags/tag80.xml"/><Relationship Id="rId37" Type="http://schemas.openxmlformats.org/officeDocument/2006/relationships/tags" Target="../tags/tag85.xml"/><Relationship Id="rId40" Type="http://schemas.openxmlformats.org/officeDocument/2006/relationships/tags" Target="../tags/tag88.xml"/><Relationship Id="rId45" Type="http://schemas.openxmlformats.org/officeDocument/2006/relationships/tags" Target="../tags/tag93.xml"/><Relationship Id="rId5" Type="http://schemas.openxmlformats.org/officeDocument/2006/relationships/theme" Target="../theme/theme2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36" Type="http://schemas.openxmlformats.org/officeDocument/2006/relationships/tags" Target="../tags/tag84.xml"/><Relationship Id="rId49" Type="http://schemas.openxmlformats.org/officeDocument/2006/relationships/tags" Target="../tags/tag97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31" Type="http://schemas.openxmlformats.org/officeDocument/2006/relationships/tags" Target="../tags/tag79.xml"/><Relationship Id="rId44" Type="http://schemas.openxmlformats.org/officeDocument/2006/relationships/tags" Target="../tags/tag92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30" Type="http://schemas.openxmlformats.org/officeDocument/2006/relationships/tags" Target="../tags/tag78.xml"/><Relationship Id="rId35" Type="http://schemas.openxmlformats.org/officeDocument/2006/relationships/tags" Target="../tags/tag83.xml"/><Relationship Id="rId43" Type="http://schemas.openxmlformats.org/officeDocument/2006/relationships/tags" Target="../tags/tag91.xml"/><Relationship Id="rId48" Type="http://schemas.openxmlformats.org/officeDocument/2006/relationships/tags" Target="../tags/tag96.xml"/><Relationship Id="rId8" Type="http://schemas.openxmlformats.org/officeDocument/2006/relationships/tags" Target="../tags/tag5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42" Type="http://schemas.openxmlformats.org/officeDocument/2006/relationships/tags" Target="../tags/tag139.xml"/><Relationship Id="rId47" Type="http://schemas.openxmlformats.org/officeDocument/2006/relationships/tags" Target="../tags/tag144.xml"/><Relationship Id="rId50" Type="http://schemas.openxmlformats.org/officeDocument/2006/relationships/oleObject" Target="../embeddings/oleObject11.bin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Relationship Id="rId46" Type="http://schemas.openxmlformats.org/officeDocument/2006/relationships/tags" Target="../tags/tag143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tags" Target="../tags/tag138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1.v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tags" Target="../tags/tag137.xml"/><Relationship Id="rId45" Type="http://schemas.openxmlformats.org/officeDocument/2006/relationships/tags" Target="../tags/tag142.xml"/><Relationship Id="rId5" Type="http://schemas.openxmlformats.org/officeDocument/2006/relationships/theme" Target="../theme/theme3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49" Type="http://schemas.openxmlformats.org/officeDocument/2006/relationships/tags" Target="../tags/tag146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4" Type="http://schemas.openxmlformats.org/officeDocument/2006/relationships/tags" Target="../tags/tag141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43" Type="http://schemas.openxmlformats.org/officeDocument/2006/relationships/tags" Target="../tags/tag140.xml"/><Relationship Id="rId48" Type="http://schemas.openxmlformats.org/officeDocument/2006/relationships/tags" Target="../tags/tag145.xml"/><Relationship Id="rId8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18" Type="http://schemas.openxmlformats.org/officeDocument/2006/relationships/tags" Target="../tags/tag165.xml"/><Relationship Id="rId26" Type="http://schemas.openxmlformats.org/officeDocument/2006/relationships/tags" Target="../tags/tag173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68.xml"/><Relationship Id="rId34" Type="http://schemas.openxmlformats.org/officeDocument/2006/relationships/tags" Target="../tags/tag181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tags" Target="../tags/tag164.xml"/><Relationship Id="rId25" Type="http://schemas.openxmlformats.org/officeDocument/2006/relationships/tags" Target="../tags/tag172.xml"/><Relationship Id="rId33" Type="http://schemas.openxmlformats.org/officeDocument/2006/relationships/tags" Target="../tags/tag180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63.xml"/><Relationship Id="rId20" Type="http://schemas.openxmlformats.org/officeDocument/2006/relationships/tags" Target="../tags/tag167.xml"/><Relationship Id="rId29" Type="http://schemas.openxmlformats.org/officeDocument/2006/relationships/tags" Target="../tags/tag176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24" Type="http://schemas.openxmlformats.org/officeDocument/2006/relationships/tags" Target="../tags/tag171.xml"/><Relationship Id="rId32" Type="http://schemas.openxmlformats.org/officeDocument/2006/relationships/tags" Target="../tags/tag179.xml"/><Relationship Id="rId5" Type="http://schemas.openxmlformats.org/officeDocument/2006/relationships/vmlDrawing" Target="../drawings/vmlDrawing15.vml"/><Relationship Id="rId15" Type="http://schemas.openxmlformats.org/officeDocument/2006/relationships/tags" Target="../tags/tag162.xml"/><Relationship Id="rId23" Type="http://schemas.openxmlformats.org/officeDocument/2006/relationships/tags" Target="../tags/tag170.xml"/><Relationship Id="rId28" Type="http://schemas.openxmlformats.org/officeDocument/2006/relationships/tags" Target="../tags/tag175.xml"/><Relationship Id="rId10" Type="http://schemas.openxmlformats.org/officeDocument/2006/relationships/tags" Target="../tags/tag157.xml"/><Relationship Id="rId19" Type="http://schemas.openxmlformats.org/officeDocument/2006/relationships/tags" Target="../tags/tag166.xml"/><Relationship Id="rId31" Type="http://schemas.openxmlformats.org/officeDocument/2006/relationships/tags" Target="../tags/tag178.xml"/><Relationship Id="rId4" Type="http://schemas.openxmlformats.org/officeDocument/2006/relationships/theme" Target="../theme/theme4.xml"/><Relationship Id="rId9" Type="http://schemas.openxmlformats.org/officeDocument/2006/relationships/tags" Target="../tags/tag156.xml"/><Relationship Id="rId14" Type="http://schemas.openxmlformats.org/officeDocument/2006/relationships/tags" Target="../tags/tag161.xml"/><Relationship Id="rId22" Type="http://schemas.openxmlformats.org/officeDocument/2006/relationships/tags" Target="../tags/tag169.xml"/><Relationship Id="rId27" Type="http://schemas.openxmlformats.org/officeDocument/2006/relationships/tags" Target="../tags/tag174.xml"/><Relationship Id="rId30" Type="http://schemas.openxmlformats.org/officeDocument/2006/relationships/tags" Target="../tags/tag177.xml"/><Relationship Id="rId35" Type="http://schemas.openxmlformats.org/officeDocument/2006/relationships/oleObject" Target="../embeddings/oleObject1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tags" Target="../tags/tag193.xml"/><Relationship Id="rId18" Type="http://schemas.openxmlformats.org/officeDocument/2006/relationships/tags" Target="../tags/tag198.xml"/><Relationship Id="rId26" Type="http://schemas.openxmlformats.org/officeDocument/2006/relationships/tags" Target="../tags/tag20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01.xml"/><Relationship Id="rId34" Type="http://schemas.openxmlformats.org/officeDocument/2006/relationships/tags" Target="../tags/tag214.xml"/><Relationship Id="rId7" Type="http://schemas.openxmlformats.org/officeDocument/2006/relationships/tags" Target="../tags/tag187.xml"/><Relationship Id="rId12" Type="http://schemas.openxmlformats.org/officeDocument/2006/relationships/tags" Target="../tags/tag192.xml"/><Relationship Id="rId17" Type="http://schemas.openxmlformats.org/officeDocument/2006/relationships/tags" Target="../tags/tag197.xml"/><Relationship Id="rId25" Type="http://schemas.openxmlformats.org/officeDocument/2006/relationships/tags" Target="../tags/tag205.xml"/><Relationship Id="rId33" Type="http://schemas.openxmlformats.org/officeDocument/2006/relationships/tags" Target="../tags/tag213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196.xml"/><Relationship Id="rId20" Type="http://schemas.openxmlformats.org/officeDocument/2006/relationships/tags" Target="../tags/tag200.xml"/><Relationship Id="rId29" Type="http://schemas.openxmlformats.org/officeDocument/2006/relationships/tags" Target="../tags/tag209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186.xml"/><Relationship Id="rId11" Type="http://schemas.openxmlformats.org/officeDocument/2006/relationships/tags" Target="../tags/tag191.xml"/><Relationship Id="rId24" Type="http://schemas.openxmlformats.org/officeDocument/2006/relationships/tags" Target="../tags/tag204.xml"/><Relationship Id="rId32" Type="http://schemas.openxmlformats.org/officeDocument/2006/relationships/tags" Target="../tags/tag212.xml"/><Relationship Id="rId5" Type="http://schemas.openxmlformats.org/officeDocument/2006/relationships/vmlDrawing" Target="../drawings/vmlDrawing18.vml"/><Relationship Id="rId15" Type="http://schemas.openxmlformats.org/officeDocument/2006/relationships/tags" Target="../tags/tag195.xml"/><Relationship Id="rId23" Type="http://schemas.openxmlformats.org/officeDocument/2006/relationships/tags" Target="../tags/tag203.xml"/><Relationship Id="rId28" Type="http://schemas.openxmlformats.org/officeDocument/2006/relationships/tags" Target="../tags/tag208.xml"/><Relationship Id="rId10" Type="http://schemas.openxmlformats.org/officeDocument/2006/relationships/tags" Target="../tags/tag190.xml"/><Relationship Id="rId19" Type="http://schemas.openxmlformats.org/officeDocument/2006/relationships/tags" Target="../tags/tag199.xml"/><Relationship Id="rId31" Type="http://schemas.openxmlformats.org/officeDocument/2006/relationships/tags" Target="../tags/tag211.xml"/><Relationship Id="rId4" Type="http://schemas.openxmlformats.org/officeDocument/2006/relationships/theme" Target="../theme/theme5.xml"/><Relationship Id="rId9" Type="http://schemas.openxmlformats.org/officeDocument/2006/relationships/tags" Target="../tags/tag189.xml"/><Relationship Id="rId14" Type="http://schemas.openxmlformats.org/officeDocument/2006/relationships/tags" Target="../tags/tag194.xml"/><Relationship Id="rId22" Type="http://schemas.openxmlformats.org/officeDocument/2006/relationships/tags" Target="../tags/tag202.xml"/><Relationship Id="rId27" Type="http://schemas.openxmlformats.org/officeDocument/2006/relationships/tags" Target="../tags/tag207.xml"/><Relationship Id="rId30" Type="http://schemas.openxmlformats.org/officeDocument/2006/relationships/tags" Target="../tags/tag210.xml"/><Relationship Id="rId35" Type="http://schemas.openxmlformats.org/officeDocument/2006/relationships/oleObject" Target="../embeddings/oleObject18.bin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221.xml"/><Relationship Id="rId18" Type="http://schemas.openxmlformats.org/officeDocument/2006/relationships/tags" Target="../tags/tag226.xml"/><Relationship Id="rId26" Type="http://schemas.openxmlformats.org/officeDocument/2006/relationships/tags" Target="../tags/tag234.xml"/><Relationship Id="rId39" Type="http://schemas.openxmlformats.org/officeDocument/2006/relationships/tags" Target="../tags/tag247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29.xml"/><Relationship Id="rId34" Type="http://schemas.openxmlformats.org/officeDocument/2006/relationships/tags" Target="../tags/tag242.xml"/><Relationship Id="rId42" Type="http://schemas.openxmlformats.org/officeDocument/2006/relationships/tags" Target="../tags/tag250.xml"/><Relationship Id="rId47" Type="http://schemas.openxmlformats.org/officeDocument/2006/relationships/tags" Target="../tags/tag255.xml"/><Relationship Id="rId50" Type="http://schemas.openxmlformats.org/officeDocument/2006/relationships/tags" Target="../tags/tag258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220.xml"/><Relationship Id="rId17" Type="http://schemas.openxmlformats.org/officeDocument/2006/relationships/tags" Target="../tags/tag225.xml"/><Relationship Id="rId25" Type="http://schemas.openxmlformats.org/officeDocument/2006/relationships/tags" Target="../tags/tag233.xml"/><Relationship Id="rId33" Type="http://schemas.openxmlformats.org/officeDocument/2006/relationships/tags" Target="../tags/tag241.xml"/><Relationship Id="rId38" Type="http://schemas.openxmlformats.org/officeDocument/2006/relationships/tags" Target="../tags/tag246.xml"/><Relationship Id="rId46" Type="http://schemas.openxmlformats.org/officeDocument/2006/relationships/tags" Target="../tags/tag254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24.xml"/><Relationship Id="rId20" Type="http://schemas.openxmlformats.org/officeDocument/2006/relationships/tags" Target="../tags/tag228.xml"/><Relationship Id="rId29" Type="http://schemas.openxmlformats.org/officeDocument/2006/relationships/tags" Target="../tags/tag237.xml"/><Relationship Id="rId41" Type="http://schemas.openxmlformats.org/officeDocument/2006/relationships/tags" Target="../tags/tag249.xml"/><Relationship Id="rId54" Type="http://schemas.openxmlformats.org/officeDocument/2006/relationships/oleObject" Target="../embeddings/oleObject21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219.xml"/><Relationship Id="rId24" Type="http://schemas.openxmlformats.org/officeDocument/2006/relationships/tags" Target="../tags/tag232.xml"/><Relationship Id="rId32" Type="http://schemas.openxmlformats.org/officeDocument/2006/relationships/tags" Target="../tags/tag240.xml"/><Relationship Id="rId37" Type="http://schemas.openxmlformats.org/officeDocument/2006/relationships/tags" Target="../tags/tag245.xml"/><Relationship Id="rId40" Type="http://schemas.openxmlformats.org/officeDocument/2006/relationships/tags" Target="../tags/tag248.xml"/><Relationship Id="rId45" Type="http://schemas.openxmlformats.org/officeDocument/2006/relationships/tags" Target="../tags/tag253.xml"/><Relationship Id="rId53" Type="http://schemas.openxmlformats.org/officeDocument/2006/relationships/tags" Target="../tags/tag261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223.xml"/><Relationship Id="rId23" Type="http://schemas.openxmlformats.org/officeDocument/2006/relationships/tags" Target="../tags/tag231.xml"/><Relationship Id="rId28" Type="http://schemas.openxmlformats.org/officeDocument/2006/relationships/tags" Target="../tags/tag236.xml"/><Relationship Id="rId36" Type="http://schemas.openxmlformats.org/officeDocument/2006/relationships/tags" Target="../tags/tag244.xml"/><Relationship Id="rId49" Type="http://schemas.openxmlformats.org/officeDocument/2006/relationships/tags" Target="../tags/tag257.xml"/><Relationship Id="rId10" Type="http://schemas.openxmlformats.org/officeDocument/2006/relationships/vmlDrawing" Target="../drawings/vmlDrawing21.vml"/><Relationship Id="rId19" Type="http://schemas.openxmlformats.org/officeDocument/2006/relationships/tags" Target="../tags/tag227.xml"/><Relationship Id="rId31" Type="http://schemas.openxmlformats.org/officeDocument/2006/relationships/tags" Target="../tags/tag239.xml"/><Relationship Id="rId44" Type="http://schemas.openxmlformats.org/officeDocument/2006/relationships/tags" Target="../tags/tag252.xml"/><Relationship Id="rId52" Type="http://schemas.openxmlformats.org/officeDocument/2006/relationships/tags" Target="../tags/tag260.x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6.xml"/><Relationship Id="rId14" Type="http://schemas.openxmlformats.org/officeDocument/2006/relationships/tags" Target="../tags/tag222.xml"/><Relationship Id="rId22" Type="http://schemas.openxmlformats.org/officeDocument/2006/relationships/tags" Target="../tags/tag230.xml"/><Relationship Id="rId27" Type="http://schemas.openxmlformats.org/officeDocument/2006/relationships/tags" Target="../tags/tag235.xml"/><Relationship Id="rId30" Type="http://schemas.openxmlformats.org/officeDocument/2006/relationships/tags" Target="../tags/tag238.xml"/><Relationship Id="rId35" Type="http://schemas.openxmlformats.org/officeDocument/2006/relationships/tags" Target="../tags/tag243.xml"/><Relationship Id="rId43" Type="http://schemas.openxmlformats.org/officeDocument/2006/relationships/tags" Target="../tags/tag251.xml"/><Relationship Id="rId48" Type="http://schemas.openxmlformats.org/officeDocument/2006/relationships/tags" Target="../tags/tag256.xml"/><Relationship Id="rId8" Type="http://schemas.openxmlformats.org/officeDocument/2006/relationships/slideLayout" Target="../slideLayouts/slideLayout29.xml"/><Relationship Id="rId51" Type="http://schemas.openxmlformats.org/officeDocument/2006/relationships/tags" Target="../tags/tag259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tags" Target="../tags/tag282.xml"/><Relationship Id="rId18" Type="http://schemas.openxmlformats.org/officeDocument/2006/relationships/tags" Target="../tags/tag287.xml"/><Relationship Id="rId26" Type="http://schemas.openxmlformats.org/officeDocument/2006/relationships/tags" Target="../tags/tag295.xml"/><Relationship Id="rId39" Type="http://schemas.openxmlformats.org/officeDocument/2006/relationships/tags" Target="../tags/tag308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290.xml"/><Relationship Id="rId34" Type="http://schemas.openxmlformats.org/officeDocument/2006/relationships/tags" Target="../tags/tag303.xml"/><Relationship Id="rId42" Type="http://schemas.openxmlformats.org/officeDocument/2006/relationships/tags" Target="../tags/tag311.xml"/><Relationship Id="rId47" Type="http://schemas.openxmlformats.org/officeDocument/2006/relationships/tags" Target="../tags/tag316.xml"/><Relationship Id="rId50" Type="http://schemas.openxmlformats.org/officeDocument/2006/relationships/oleObject" Target="../embeddings/oleObject29.bin"/><Relationship Id="rId7" Type="http://schemas.openxmlformats.org/officeDocument/2006/relationships/tags" Target="../tags/tag276.xml"/><Relationship Id="rId12" Type="http://schemas.openxmlformats.org/officeDocument/2006/relationships/tags" Target="../tags/tag281.xml"/><Relationship Id="rId17" Type="http://schemas.openxmlformats.org/officeDocument/2006/relationships/tags" Target="../tags/tag286.xml"/><Relationship Id="rId25" Type="http://schemas.openxmlformats.org/officeDocument/2006/relationships/tags" Target="../tags/tag294.xml"/><Relationship Id="rId33" Type="http://schemas.openxmlformats.org/officeDocument/2006/relationships/tags" Target="../tags/tag302.xml"/><Relationship Id="rId38" Type="http://schemas.openxmlformats.org/officeDocument/2006/relationships/tags" Target="../tags/tag307.xml"/><Relationship Id="rId46" Type="http://schemas.openxmlformats.org/officeDocument/2006/relationships/tags" Target="../tags/tag315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285.xml"/><Relationship Id="rId20" Type="http://schemas.openxmlformats.org/officeDocument/2006/relationships/tags" Target="../tags/tag289.xml"/><Relationship Id="rId29" Type="http://schemas.openxmlformats.org/officeDocument/2006/relationships/tags" Target="../tags/tag298.xml"/><Relationship Id="rId41" Type="http://schemas.openxmlformats.org/officeDocument/2006/relationships/tags" Target="../tags/tag310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29.vml"/><Relationship Id="rId11" Type="http://schemas.openxmlformats.org/officeDocument/2006/relationships/tags" Target="../tags/tag280.xml"/><Relationship Id="rId24" Type="http://schemas.openxmlformats.org/officeDocument/2006/relationships/tags" Target="../tags/tag293.xml"/><Relationship Id="rId32" Type="http://schemas.openxmlformats.org/officeDocument/2006/relationships/tags" Target="../tags/tag301.xml"/><Relationship Id="rId37" Type="http://schemas.openxmlformats.org/officeDocument/2006/relationships/tags" Target="../tags/tag306.xml"/><Relationship Id="rId40" Type="http://schemas.openxmlformats.org/officeDocument/2006/relationships/tags" Target="../tags/tag309.xml"/><Relationship Id="rId45" Type="http://schemas.openxmlformats.org/officeDocument/2006/relationships/tags" Target="../tags/tag314.xml"/><Relationship Id="rId5" Type="http://schemas.openxmlformats.org/officeDocument/2006/relationships/theme" Target="../theme/theme7.xml"/><Relationship Id="rId15" Type="http://schemas.openxmlformats.org/officeDocument/2006/relationships/tags" Target="../tags/tag284.xml"/><Relationship Id="rId23" Type="http://schemas.openxmlformats.org/officeDocument/2006/relationships/tags" Target="../tags/tag292.xml"/><Relationship Id="rId28" Type="http://schemas.openxmlformats.org/officeDocument/2006/relationships/tags" Target="../tags/tag297.xml"/><Relationship Id="rId36" Type="http://schemas.openxmlformats.org/officeDocument/2006/relationships/tags" Target="../tags/tag305.xml"/><Relationship Id="rId49" Type="http://schemas.openxmlformats.org/officeDocument/2006/relationships/tags" Target="../tags/tag318.xml"/><Relationship Id="rId10" Type="http://schemas.openxmlformats.org/officeDocument/2006/relationships/tags" Target="../tags/tag279.xml"/><Relationship Id="rId19" Type="http://schemas.openxmlformats.org/officeDocument/2006/relationships/tags" Target="../tags/tag288.xml"/><Relationship Id="rId31" Type="http://schemas.openxmlformats.org/officeDocument/2006/relationships/tags" Target="../tags/tag300.xml"/><Relationship Id="rId44" Type="http://schemas.openxmlformats.org/officeDocument/2006/relationships/tags" Target="../tags/tag313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278.xml"/><Relationship Id="rId14" Type="http://schemas.openxmlformats.org/officeDocument/2006/relationships/tags" Target="../tags/tag283.xml"/><Relationship Id="rId22" Type="http://schemas.openxmlformats.org/officeDocument/2006/relationships/tags" Target="../tags/tag291.xml"/><Relationship Id="rId27" Type="http://schemas.openxmlformats.org/officeDocument/2006/relationships/tags" Target="../tags/tag296.xml"/><Relationship Id="rId30" Type="http://schemas.openxmlformats.org/officeDocument/2006/relationships/tags" Target="../tags/tag299.xml"/><Relationship Id="rId35" Type="http://schemas.openxmlformats.org/officeDocument/2006/relationships/tags" Target="../tags/tag304.xml"/><Relationship Id="rId43" Type="http://schemas.openxmlformats.org/officeDocument/2006/relationships/tags" Target="../tags/tag312.xml"/><Relationship Id="rId48" Type="http://schemas.openxmlformats.org/officeDocument/2006/relationships/tags" Target="../tags/tag317.xml"/><Relationship Id="rId8" Type="http://schemas.openxmlformats.org/officeDocument/2006/relationships/tags" Target="../tags/tag27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tags" Target="../tags/tag331.xml"/><Relationship Id="rId18" Type="http://schemas.openxmlformats.org/officeDocument/2006/relationships/tags" Target="../tags/tag336.xml"/><Relationship Id="rId26" Type="http://schemas.openxmlformats.org/officeDocument/2006/relationships/tags" Target="../tags/tag344.xml"/><Relationship Id="rId39" Type="http://schemas.openxmlformats.org/officeDocument/2006/relationships/tags" Target="../tags/tag357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339.xml"/><Relationship Id="rId34" Type="http://schemas.openxmlformats.org/officeDocument/2006/relationships/tags" Target="../tags/tag352.xml"/><Relationship Id="rId42" Type="http://schemas.openxmlformats.org/officeDocument/2006/relationships/tags" Target="../tags/tag360.xml"/><Relationship Id="rId47" Type="http://schemas.openxmlformats.org/officeDocument/2006/relationships/tags" Target="../tags/tag365.xml"/><Relationship Id="rId50" Type="http://schemas.openxmlformats.org/officeDocument/2006/relationships/oleObject" Target="../embeddings/oleObject33.bin"/><Relationship Id="rId7" Type="http://schemas.openxmlformats.org/officeDocument/2006/relationships/tags" Target="../tags/tag325.xml"/><Relationship Id="rId12" Type="http://schemas.openxmlformats.org/officeDocument/2006/relationships/tags" Target="../tags/tag330.xml"/><Relationship Id="rId17" Type="http://schemas.openxmlformats.org/officeDocument/2006/relationships/tags" Target="../tags/tag335.xml"/><Relationship Id="rId25" Type="http://schemas.openxmlformats.org/officeDocument/2006/relationships/tags" Target="../tags/tag343.xml"/><Relationship Id="rId33" Type="http://schemas.openxmlformats.org/officeDocument/2006/relationships/tags" Target="../tags/tag351.xml"/><Relationship Id="rId38" Type="http://schemas.openxmlformats.org/officeDocument/2006/relationships/tags" Target="../tags/tag356.xml"/><Relationship Id="rId46" Type="http://schemas.openxmlformats.org/officeDocument/2006/relationships/tags" Target="../tags/tag364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334.xml"/><Relationship Id="rId20" Type="http://schemas.openxmlformats.org/officeDocument/2006/relationships/tags" Target="../tags/tag338.xml"/><Relationship Id="rId29" Type="http://schemas.openxmlformats.org/officeDocument/2006/relationships/tags" Target="../tags/tag347.xml"/><Relationship Id="rId41" Type="http://schemas.openxmlformats.org/officeDocument/2006/relationships/tags" Target="../tags/tag359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33.vml"/><Relationship Id="rId11" Type="http://schemas.openxmlformats.org/officeDocument/2006/relationships/tags" Target="../tags/tag329.xml"/><Relationship Id="rId24" Type="http://schemas.openxmlformats.org/officeDocument/2006/relationships/tags" Target="../tags/tag342.xml"/><Relationship Id="rId32" Type="http://schemas.openxmlformats.org/officeDocument/2006/relationships/tags" Target="../tags/tag350.xml"/><Relationship Id="rId37" Type="http://schemas.openxmlformats.org/officeDocument/2006/relationships/tags" Target="../tags/tag355.xml"/><Relationship Id="rId40" Type="http://schemas.openxmlformats.org/officeDocument/2006/relationships/tags" Target="../tags/tag358.xml"/><Relationship Id="rId45" Type="http://schemas.openxmlformats.org/officeDocument/2006/relationships/tags" Target="../tags/tag363.xml"/><Relationship Id="rId5" Type="http://schemas.openxmlformats.org/officeDocument/2006/relationships/theme" Target="../theme/theme8.xml"/><Relationship Id="rId15" Type="http://schemas.openxmlformats.org/officeDocument/2006/relationships/tags" Target="../tags/tag333.xml"/><Relationship Id="rId23" Type="http://schemas.openxmlformats.org/officeDocument/2006/relationships/tags" Target="../tags/tag341.xml"/><Relationship Id="rId28" Type="http://schemas.openxmlformats.org/officeDocument/2006/relationships/tags" Target="../tags/tag346.xml"/><Relationship Id="rId36" Type="http://schemas.openxmlformats.org/officeDocument/2006/relationships/tags" Target="../tags/tag354.xml"/><Relationship Id="rId49" Type="http://schemas.openxmlformats.org/officeDocument/2006/relationships/tags" Target="../tags/tag367.xml"/><Relationship Id="rId10" Type="http://schemas.openxmlformats.org/officeDocument/2006/relationships/tags" Target="../tags/tag328.xml"/><Relationship Id="rId19" Type="http://schemas.openxmlformats.org/officeDocument/2006/relationships/tags" Target="../tags/tag337.xml"/><Relationship Id="rId31" Type="http://schemas.openxmlformats.org/officeDocument/2006/relationships/tags" Target="../tags/tag349.xml"/><Relationship Id="rId44" Type="http://schemas.openxmlformats.org/officeDocument/2006/relationships/tags" Target="../tags/tag362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327.xml"/><Relationship Id="rId14" Type="http://schemas.openxmlformats.org/officeDocument/2006/relationships/tags" Target="../tags/tag332.xml"/><Relationship Id="rId22" Type="http://schemas.openxmlformats.org/officeDocument/2006/relationships/tags" Target="../tags/tag340.xml"/><Relationship Id="rId27" Type="http://schemas.openxmlformats.org/officeDocument/2006/relationships/tags" Target="../tags/tag345.xml"/><Relationship Id="rId30" Type="http://schemas.openxmlformats.org/officeDocument/2006/relationships/tags" Target="../tags/tag348.xml"/><Relationship Id="rId35" Type="http://schemas.openxmlformats.org/officeDocument/2006/relationships/tags" Target="../tags/tag353.xml"/><Relationship Id="rId43" Type="http://schemas.openxmlformats.org/officeDocument/2006/relationships/tags" Target="../tags/tag361.xml"/><Relationship Id="rId48" Type="http://schemas.openxmlformats.org/officeDocument/2006/relationships/tags" Target="../tags/tag366.xml"/><Relationship Id="rId8" Type="http://schemas.openxmlformats.org/officeDocument/2006/relationships/tags" Target="../tags/tag326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tags" Target="../tags/tag380.xml"/><Relationship Id="rId18" Type="http://schemas.openxmlformats.org/officeDocument/2006/relationships/tags" Target="../tags/tag385.xml"/><Relationship Id="rId26" Type="http://schemas.openxmlformats.org/officeDocument/2006/relationships/tags" Target="../tags/tag393.xml"/><Relationship Id="rId39" Type="http://schemas.openxmlformats.org/officeDocument/2006/relationships/tags" Target="../tags/tag406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388.xml"/><Relationship Id="rId34" Type="http://schemas.openxmlformats.org/officeDocument/2006/relationships/tags" Target="../tags/tag401.xml"/><Relationship Id="rId42" Type="http://schemas.openxmlformats.org/officeDocument/2006/relationships/tags" Target="../tags/tag409.xml"/><Relationship Id="rId47" Type="http://schemas.openxmlformats.org/officeDocument/2006/relationships/tags" Target="../tags/tag414.xml"/><Relationship Id="rId50" Type="http://schemas.openxmlformats.org/officeDocument/2006/relationships/oleObject" Target="../embeddings/oleObject37.bin"/><Relationship Id="rId7" Type="http://schemas.openxmlformats.org/officeDocument/2006/relationships/tags" Target="../tags/tag374.xml"/><Relationship Id="rId12" Type="http://schemas.openxmlformats.org/officeDocument/2006/relationships/tags" Target="../tags/tag379.xml"/><Relationship Id="rId17" Type="http://schemas.openxmlformats.org/officeDocument/2006/relationships/tags" Target="../tags/tag384.xml"/><Relationship Id="rId25" Type="http://schemas.openxmlformats.org/officeDocument/2006/relationships/tags" Target="../tags/tag392.xml"/><Relationship Id="rId33" Type="http://schemas.openxmlformats.org/officeDocument/2006/relationships/tags" Target="../tags/tag400.xml"/><Relationship Id="rId38" Type="http://schemas.openxmlformats.org/officeDocument/2006/relationships/tags" Target="../tags/tag405.xml"/><Relationship Id="rId46" Type="http://schemas.openxmlformats.org/officeDocument/2006/relationships/tags" Target="../tags/tag413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383.xml"/><Relationship Id="rId20" Type="http://schemas.openxmlformats.org/officeDocument/2006/relationships/tags" Target="../tags/tag387.xml"/><Relationship Id="rId29" Type="http://schemas.openxmlformats.org/officeDocument/2006/relationships/tags" Target="../tags/tag396.xml"/><Relationship Id="rId41" Type="http://schemas.openxmlformats.org/officeDocument/2006/relationships/tags" Target="../tags/tag408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37.vml"/><Relationship Id="rId11" Type="http://schemas.openxmlformats.org/officeDocument/2006/relationships/tags" Target="../tags/tag378.xml"/><Relationship Id="rId24" Type="http://schemas.openxmlformats.org/officeDocument/2006/relationships/tags" Target="../tags/tag391.xml"/><Relationship Id="rId32" Type="http://schemas.openxmlformats.org/officeDocument/2006/relationships/tags" Target="../tags/tag399.xml"/><Relationship Id="rId37" Type="http://schemas.openxmlformats.org/officeDocument/2006/relationships/tags" Target="../tags/tag404.xml"/><Relationship Id="rId40" Type="http://schemas.openxmlformats.org/officeDocument/2006/relationships/tags" Target="../tags/tag407.xml"/><Relationship Id="rId45" Type="http://schemas.openxmlformats.org/officeDocument/2006/relationships/tags" Target="../tags/tag412.xml"/><Relationship Id="rId5" Type="http://schemas.openxmlformats.org/officeDocument/2006/relationships/theme" Target="../theme/theme9.xml"/><Relationship Id="rId15" Type="http://schemas.openxmlformats.org/officeDocument/2006/relationships/tags" Target="../tags/tag382.xml"/><Relationship Id="rId23" Type="http://schemas.openxmlformats.org/officeDocument/2006/relationships/tags" Target="../tags/tag390.xml"/><Relationship Id="rId28" Type="http://schemas.openxmlformats.org/officeDocument/2006/relationships/tags" Target="../tags/tag395.xml"/><Relationship Id="rId36" Type="http://schemas.openxmlformats.org/officeDocument/2006/relationships/tags" Target="../tags/tag403.xml"/><Relationship Id="rId49" Type="http://schemas.openxmlformats.org/officeDocument/2006/relationships/tags" Target="../tags/tag416.xml"/><Relationship Id="rId10" Type="http://schemas.openxmlformats.org/officeDocument/2006/relationships/tags" Target="../tags/tag377.xml"/><Relationship Id="rId19" Type="http://schemas.openxmlformats.org/officeDocument/2006/relationships/tags" Target="../tags/tag386.xml"/><Relationship Id="rId31" Type="http://schemas.openxmlformats.org/officeDocument/2006/relationships/tags" Target="../tags/tag398.xml"/><Relationship Id="rId44" Type="http://schemas.openxmlformats.org/officeDocument/2006/relationships/tags" Target="../tags/tag411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376.xml"/><Relationship Id="rId14" Type="http://schemas.openxmlformats.org/officeDocument/2006/relationships/tags" Target="../tags/tag381.xml"/><Relationship Id="rId22" Type="http://schemas.openxmlformats.org/officeDocument/2006/relationships/tags" Target="../tags/tag389.xml"/><Relationship Id="rId27" Type="http://schemas.openxmlformats.org/officeDocument/2006/relationships/tags" Target="../tags/tag394.xml"/><Relationship Id="rId30" Type="http://schemas.openxmlformats.org/officeDocument/2006/relationships/tags" Target="../tags/tag397.xml"/><Relationship Id="rId35" Type="http://schemas.openxmlformats.org/officeDocument/2006/relationships/tags" Target="../tags/tag402.xml"/><Relationship Id="rId43" Type="http://schemas.openxmlformats.org/officeDocument/2006/relationships/tags" Target="../tags/tag410.xml"/><Relationship Id="rId48" Type="http://schemas.openxmlformats.org/officeDocument/2006/relationships/tags" Target="../tags/tag415.xml"/><Relationship Id="rId8" Type="http://schemas.openxmlformats.org/officeDocument/2006/relationships/tags" Target="../tags/tag3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xmlns="" val="2977976848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1115" name="think-cell Slide" r:id="rId53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8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173097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849" r:id="rId3"/>
    <p:sldLayoutId id="2147483850" r:id="rId4"/>
    <p:sldLayoutId id="2147483693" r:id="rId5"/>
    <p:sldLayoutId id="2147483694" r:id="rId6"/>
    <p:sldLayoutId id="2147483888" r:id="rId7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42075" name="think-cell Slide" r:id="rId50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776978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46171" name="think-cell Slide" r:id="rId3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3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268022" y="1485003"/>
            <a:ext cx="1609415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9" baseline="0">
                <a:solidFill>
                  <a:srgbClr val="808080"/>
                </a:solidFill>
                <a:latin typeface="+mn-lt"/>
                <a:ea typeface="+mn-ea"/>
              </a:rPr>
              <a:t>Last Modified 4/23/2019 12:00 PM Central Asia Standard Time</a:t>
            </a:r>
            <a:endParaRPr lang="ru-RU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385040" y="3148488"/>
            <a:ext cx="1375377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baseline="0">
                <a:solidFill>
                  <a:srgbClr val="808080"/>
                </a:solidFill>
                <a:latin typeface="+mn-lt"/>
                <a:ea typeface="+mn-ea"/>
              </a:rPr>
              <a:t>Printed 19.04.2019 02:55 Central Asia Standard Time</a:t>
            </a:r>
            <a:endParaRPr lang="ru-RU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176148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424602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4826085"/>
            <a:ext cx="8794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4980366"/>
            <a:ext cx="73466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956403"/>
            <a:ext cx="435089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46465" y="218666"/>
            <a:ext cx="369140" cy="121893"/>
            <a:chOff x="8379005" y="285750"/>
            <a:chExt cx="361770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5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5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5" y="445038"/>
              <a:ext cx="3617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5" y="208414"/>
            <a:ext cx="1035089" cy="582684"/>
            <a:chOff x="7607284" y="279400"/>
            <a:chExt cx="1014423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5" y="208493"/>
            <a:ext cx="720839" cy="786772"/>
            <a:chOff x="5894005" y="919828"/>
            <a:chExt cx="706448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3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1" y="208108"/>
            <a:ext cx="788873" cy="1007740"/>
            <a:chOff x="5894005" y="2695123"/>
            <a:chExt cx="773123" cy="1316904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7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996490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49243" name="think-cell Slide" r:id="rId50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242379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1D4F895-6191-4902-A9DA-7AD1C2364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59" tIns="34289" rIns="68559" bIns="3428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086E5391-C06C-46C6-8741-BD11B0637E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59" tIns="34289" rIns="68559" bIns="342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3776D38C-8DB5-4912-96DC-61CF43E63F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59" tIns="34289" rIns="68559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62" fontAlgn="auto">
              <a:spcBef>
                <a:spcPts val="0"/>
              </a:spcBef>
              <a:spcAft>
                <a:spcPts val="0"/>
              </a:spcAft>
            </a:pPr>
            <a:fld id="{D648C1AD-0426-4F30-ACEF-D586335D15E9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Nunito Sans"/>
              </a:rPr>
              <a:pPr defTabSz="685562" fontAlgn="auto">
                <a:spcBef>
                  <a:spcPts val="0"/>
                </a:spcBef>
                <a:spcAft>
                  <a:spcPts val="0"/>
                </a:spcAft>
              </a:pPr>
              <a:t>4/19/2024</a:t>
            </a:fld>
            <a:endParaRPr lang="ru-RU">
              <a:solidFill>
                <a:prstClr val="black">
                  <a:tint val="75000"/>
                </a:prstClr>
              </a:solidFill>
              <a:latin typeface="Nunito San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FB2D328-19B5-4F0A-99A0-B079796D5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59" tIns="34289" rIns="68559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62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Nunito San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C968A46-C18F-42CE-82B3-023437973F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59" tIns="34289" rIns="68559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62" fontAlgn="auto">
              <a:spcBef>
                <a:spcPts val="0"/>
              </a:spcBef>
              <a:spcAft>
                <a:spcPts val="0"/>
              </a:spcAft>
            </a:pPr>
            <a:fld id="{7CC83EE9-F14E-43AA-993C-7EC1C496A711}" type="slidenum">
              <a:rPr lang="ru-RU" smtClean="0">
                <a:solidFill>
                  <a:prstClr val="black">
                    <a:tint val="75000"/>
                  </a:prstClr>
                </a:solidFill>
                <a:latin typeface="Nunito Sans"/>
              </a:rPr>
              <a:pPr defTabSz="68556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Nunito San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5400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87" r:id="rId14"/>
  </p:sldLayoutIdLst>
  <p:hf hdr="0" ftr="0" dt="0"/>
  <p:txStyles>
    <p:titleStyle>
      <a:lvl1pPr algn="l" defTabSz="685562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394" indent="-171394" algn="l" defTabSz="685562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181" indent="-171394" algn="l" defTabSz="68556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955" indent="-171394" algn="l" defTabSz="68556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730" indent="-171394" algn="l" defTabSz="68556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506" indent="-171394" algn="l" defTabSz="68556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292" indent="-171394" algn="l" defTabSz="68556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073" indent="-171394" algn="l" defTabSz="68556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854" indent="-171394" algn="l" defTabSz="68556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641" indent="-171394" algn="l" defTabSz="68556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76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62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43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24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911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685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460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236" algn="l" defTabSz="6855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268732140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72746" name="think-cell Slide" r:id="rId52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54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dirty="0">
                <a:solidFill>
                  <a:srgbClr val="808080"/>
                </a:solidFill>
                <a:latin typeface="Arial"/>
              </a:rPr>
              <a:t>Subtitle</a:t>
            </a:r>
            <a:endParaRPr lang="ru-RU" sz="1224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dirty="0">
                <a:solidFill>
                  <a:srgbClr val="808080"/>
                </a:solidFill>
                <a:latin typeface="Arial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dirty="0">
                  <a:solidFill>
                    <a:srgbClr val="0070CE"/>
                  </a:solidFill>
                  <a:latin typeface="Arial"/>
                </a:rPr>
                <a:t>Название документа</a:t>
              </a:r>
            </a:p>
            <a:p>
              <a:r>
                <a:rPr lang="ru-RU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rgbClr val="000000"/>
              </a:solidFill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70CE"/>
                </a:buClr>
              </a:pPr>
              <a:r>
                <a:rPr lang="ru-RU" sz="1071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70CE"/>
              </a:buClr>
            </a:pPr>
            <a:r>
              <a:rPr lang="en-US" sz="1224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70CE"/>
              </a:buClr>
            </a:pPr>
            <a:r>
              <a:rPr lang="en-US" sz="1224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70CE"/>
              </a:buClr>
            </a:pPr>
            <a:r>
              <a:rPr lang="en-US" sz="1224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70CE"/>
              </a:buClr>
            </a:pPr>
            <a:r>
              <a:rPr lang="en-US" sz="1224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>
              <a:solidFill>
                <a:srgbClr val="000000"/>
              </a:solidFill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122">
              <a:buClr>
                <a:srgbClr val="0070CE"/>
              </a:buClr>
              <a:buSzPct val="100000"/>
            </a:pPr>
            <a:endParaRPr lang="ru-RU" sz="1224" dirty="0">
              <a:solidFill>
                <a:srgbClr val="000000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122">
                <a:buClr>
                  <a:srgbClr val="0070CE"/>
                </a:buClr>
                <a:buSzPct val="100000"/>
              </a:pPr>
              <a:endParaRPr lang="ru-RU" sz="1224" dirty="0">
                <a:solidFill>
                  <a:srgbClr val="000000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122">
                <a:buClr>
                  <a:srgbClr val="0070CE"/>
                </a:buClr>
                <a:buSzPct val="100000"/>
              </a:pPr>
              <a:endParaRPr lang="ru-RU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122">
                <a:buClr>
                  <a:srgbClr val="0070CE"/>
                </a:buClr>
                <a:buSzPct val="100000"/>
              </a:pPr>
              <a:endParaRPr lang="ru-RU" sz="1224" dirty="0">
                <a:solidFill>
                  <a:srgbClr val="000000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122">
                <a:buClr>
                  <a:srgbClr val="0070CE"/>
                </a:buClr>
                <a:buSzPct val="100000"/>
              </a:pPr>
              <a:endParaRPr lang="ru-RU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70CE"/>
                </a:buClr>
              </a:pPr>
              <a:r>
                <a:rPr lang="en-US" sz="1071" b="1" dirty="0">
                  <a:solidFill>
                    <a:srgbClr val="0070CE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70CE"/>
                </a:buClr>
              </a:pPr>
              <a:r>
                <a:rPr lang="en-US" sz="1071" b="1" dirty="0">
                  <a:solidFill>
                    <a:srgbClr val="0070CE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70CE"/>
                </a:buClr>
              </a:pPr>
              <a:r>
                <a:rPr lang="en-US" sz="1071" b="1" dirty="0">
                  <a:solidFill>
                    <a:srgbClr val="0070CE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468994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7259" name="think-cell Slide" r:id="rId50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67412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11355" name="think-cell Slide" r:id="rId50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69716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15451" name="think-cell Slide" r:id="rId3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3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268022" y="1485003"/>
            <a:ext cx="1609415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9" baseline="0">
                <a:solidFill>
                  <a:srgbClr val="808080"/>
                </a:solidFill>
                <a:latin typeface="+mn-lt"/>
                <a:ea typeface="+mn-ea"/>
              </a:rPr>
              <a:t>Last Modified 4/23/2019 12:00 PM Central Asia Standard Time</a:t>
            </a:r>
            <a:endParaRPr lang="ru-RU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348171" y="3148488"/>
            <a:ext cx="1449115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baseline="0">
                <a:solidFill>
                  <a:srgbClr val="808080"/>
                </a:solidFill>
                <a:latin typeface="+mn-lt"/>
                <a:ea typeface="+mn-ea"/>
              </a:rPr>
              <a:t>Printed 20.04.2019 13:35 Central Europe Standard Time</a:t>
            </a:r>
            <a:endParaRPr lang="ru-RU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176148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424602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4826085"/>
            <a:ext cx="8794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4980366"/>
            <a:ext cx="73466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956403"/>
            <a:ext cx="435089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46465" y="218666"/>
            <a:ext cx="369140" cy="121893"/>
            <a:chOff x="8379005" y="285750"/>
            <a:chExt cx="361770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5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5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5" y="445038"/>
              <a:ext cx="3617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5" y="208414"/>
            <a:ext cx="1035089" cy="582684"/>
            <a:chOff x="7607284" y="279400"/>
            <a:chExt cx="1014423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5" y="208493"/>
            <a:ext cx="720839" cy="786772"/>
            <a:chOff x="5894005" y="919828"/>
            <a:chExt cx="706448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3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1" y="208108"/>
            <a:ext cx="788873" cy="1007740"/>
            <a:chOff x="5894005" y="2695123"/>
            <a:chExt cx="773123" cy="1316904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7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864717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18523" name="think-cell Slide" r:id="rId3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3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268022" y="1485003"/>
            <a:ext cx="1609415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9" baseline="0">
                <a:solidFill>
                  <a:srgbClr val="808080"/>
                </a:solidFill>
                <a:latin typeface="+mn-lt"/>
                <a:ea typeface="+mn-ea"/>
              </a:rPr>
              <a:t>Last Modified 4/23/2019 12:00 PM Central Asia Standard Time</a:t>
            </a:r>
            <a:endParaRPr lang="ru-RU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348171" y="3148488"/>
            <a:ext cx="1449115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baseline="0">
                <a:solidFill>
                  <a:srgbClr val="808080"/>
                </a:solidFill>
                <a:latin typeface="+mn-lt"/>
                <a:ea typeface="+mn-ea"/>
              </a:rPr>
              <a:t>Printed 20.04.2019 13:35 Central Europe Standard Time</a:t>
            </a:r>
            <a:endParaRPr lang="ru-RU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176148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424602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4826085"/>
            <a:ext cx="8794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4980366"/>
            <a:ext cx="73466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956403"/>
            <a:ext cx="435089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46465" y="218666"/>
            <a:ext cx="369140" cy="121893"/>
            <a:chOff x="8379005" y="285750"/>
            <a:chExt cx="361770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5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5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5" y="445038"/>
              <a:ext cx="3617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5" y="208414"/>
            <a:ext cx="1035089" cy="582684"/>
            <a:chOff x="7607284" y="279400"/>
            <a:chExt cx="1014423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5" y="208493"/>
            <a:ext cx="720839" cy="786772"/>
            <a:chOff x="5894005" y="919828"/>
            <a:chExt cx="706448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3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1" y="208108"/>
            <a:ext cx="788873" cy="1007740"/>
            <a:chOff x="5894005" y="2695123"/>
            <a:chExt cx="773123" cy="1316904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7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>
                  <a:latin typeface="+mn-lt"/>
                  <a:ea typeface="+mn-ea"/>
                </a:rPr>
                <a:t>Legend</a:t>
              </a:r>
              <a:endParaRPr lang="ru-RU" sz="1071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46332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21595" name="think-cell Slide" r:id="rId54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9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20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183297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48" r:id="rId3"/>
    <p:sldLayoutId id="2147483814" r:id="rId4"/>
    <p:sldLayoutId id="2147483815" r:id="rId5"/>
    <p:sldLayoutId id="2147483816" r:id="rId6"/>
    <p:sldLayoutId id="2147483817" r:id="rId7"/>
    <p:sldLayoutId id="2147483818" r:id="rId8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29787" name="think-cell Slide" r:id="rId50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493965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33883" name="think-cell Slide" r:id="rId50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373859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37979" name="think-cell Slide" r:id="rId50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ru-RU" sz="612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24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ru-RU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ru-RU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224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224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endParaRPr lang="en-US" sz="1224" dirty="0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24" baseline="30000" dirty="0"/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24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685122" eaLnBrk="1" latinLnBrk="0" hangingPunct="1">
              <a:buClr>
                <a:schemeClr val="tx2"/>
              </a:buClr>
              <a:buSzPct val="100000"/>
            </a:pPr>
            <a:endParaRPr lang="ru-RU" sz="1224" baseline="0" dirty="0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685122" eaLnBrk="1" latinLnBrk="0" hangingPunct="1">
                <a:buClr>
                  <a:schemeClr val="tx2"/>
                </a:buClr>
                <a:buSzPct val="100000"/>
              </a:pPr>
              <a:endParaRPr lang="ru-RU" sz="1224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24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24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071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81221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633.xml"/><Relationship Id="rId7" Type="http://schemas.openxmlformats.org/officeDocument/2006/relationships/image" Target="../media/image52.png"/><Relationship Id="rId2" Type="http://schemas.openxmlformats.org/officeDocument/2006/relationships/tags" Target="../tags/tag632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51.png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65.bin"/><Relationship Id="rId10" Type="http://schemas.openxmlformats.org/officeDocument/2006/relationships/image" Target="../media/image55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thon.kz/" TargetMode="External"/><Relationship Id="rId3" Type="http://schemas.openxmlformats.org/officeDocument/2006/relationships/tags" Target="../tags/tag635.xml"/><Relationship Id="rId7" Type="http://schemas.openxmlformats.org/officeDocument/2006/relationships/image" Target="../media/image57.png"/><Relationship Id="rId2" Type="http://schemas.openxmlformats.org/officeDocument/2006/relationships/tags" Target="../tags/tag634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image" Target="../media/image56.jpeg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637.xml"/><Relationship Id="rId7" Type="http://schemas.openxmlformats.org/officeDocument/2006/relationships/image" Target="../media/image58.png"/><Relationship Id="rId2" Type="http://schemas.openxmlformats.org/officeDocument/2006/relationships/tags" Target="../tags/tag636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image" Target="../media/image59.jpeg"/><Relationship Id="rId10" Type="http://schemas.openxmlformats.org/officeDocument/2006/relationships/image" Target="../media/image61.png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datathon.kz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612.xml"/><Relationship Id="rId7" Type="http://schemas.openxmlformats.org/officeDocument/2006/relationships/image" Target="../media/image17.png"/><Relationship Id="rId2" Type="http://schemas.openxmlformats.org/officeDocument/2006/relationships/tags" Target="../tags/tag61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60.bin"/><Relationship Id="rId4" Type="http://schemas.openxmlformats.org/officeDocument/2006/relationships/slideLayout" Target="../slideLayouts/slideLayout6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614.xml"/><Relationship Id="rId7" Type="http://schemas.openxmlformats.org/officeDocument/2006/relationships/image" Target="../media/image17.png"/><Relationship Id="rId2" Type="http://schemas.openxmlformats.org/officeDocument/2006/relationships/tags" Target="../tags/tag61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0.jpeg"/><Relationship Id="rId11" Type="http://schemas.openxmlformats.org/officeDocument/2006/relationships/image" Target="../media/image24.jpeg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23.jpeg"/><Relationship Id="rId4" Type="http://schemas.openxmlformats.org/officeDocument/2006/relationships/slideLayout" Target="../slideLayouts/slideLayout66.xml"/><Relationship Id="rId9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10" Type="http://schemas.openxmlformats.org/officeDocument/2006/relationships/image" Target="../media/image32.jpeg"/><Relationship Id="rId4" Type="http://schemas.openxmlformats.org/officeDocument/2006/relationships/image" Target="../media/image26.jpeg"/><Relationship Id="rId9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tags" Target="../tags/tag616.xml"/><Relationship Id="rId7" Type="http://schemas.openxmlformats.org/officeDocument/2006/relationships/image" Target="../media/image34.png"/><Relationship Id="rId2" Type="http://schemas.openxmlformats.org/officeDocument/2006/relationships/tags" Target="../tags/tag61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3.jpeg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41.jpeg"/><Relationship Id="rId11" Type="http://schemas.openxmlformats.org/officeDocument/2006/relationships/image" Target="../media/image17.png"/><Relationship Id="rId5" Type="http://schemas.openxmlformats.org/officeDocument/2006/relationships/image" Target="../media/image40.png"/><Relationship Id="rId10" Type="http://schemas.openxmlformats.org/officeDocument/2006/relationships/image" Target="../media/image45.jpe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18.xml"/><Relationship Id="rId7" Type="http://schemas.openxmlformats.org/officeDocument/2006/relationships/image" Target="../media/image17.png"/><Relationship Id="rId2" Type="http://schemas.openxmlformats.org/officeDocument/2006/relationships/tags" Target="../tags/tag617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6.jpeg"/><Relationship Id="rId5" Type="http://schemas.openxmlformats.org/officeDocument/2006/relationships/oleObject" Target="../embeddings/oleObject63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25.xml"/><Relationship Id="rId13" Type="http://schemas.openxmlformats.org/officeDocument/2006/relationships/tags" Target="../tags/tag630.xml"/><Relationship Id="rId18" Type="http://schemas.openxmlformats.org/officeDocument/2006/relationships/image" Target="../media/image48.png"/><Relationship Id="rId3" Type="http://schemas.openxmlformats.org/officeDocument/2006/relationships/tags" Target="../tags/tag620.xml"/><Relationship Id="rId21" Type="http://schemas.openxmlformats.org/officeDocument/2006/relationships/image" Target="../media/image17.png"/><Relationship Id="rId7" Type="http://schemas.openxmlformats.org/officeDocument/2006/relationships/tags" Target="../tags/tag624.xml"/><Relationship Id="rId12" Type="http://schemas.openxmlformats.org/officeDocument/2006/relationships/tags" Target="../tags/tag629.xml"/><Relationship Id="rId17" Type="http://schemas.openxmlformats.org/officeDocument/2006/relationships/image" Target="../media/image47.png"/><Relationship Id="rId2" Type="http://schemas.openxmlformats.org/officeDocument/2006/relationships/tags" Target="../tags/tag619.xml"/><Relationship Id="rId16" Type="http://schemas.openxmlformats.org/officeDocument/2006/relationships/oleObject" Target="../embeddings/oleObject64.bin"/><Relationship Id="rId20" Type="http://schemas.openxmlformats.org/officeDocument/2006/relationships/image" Target="../media/image50.png"/><Relationship Id="rId1" Type="http://schemas.openxmlformats.org/officeDocument/2006/relationships/vmlDrawing" Target="../drawings/vmlDrawing64.vml"/><Relationship Id="rId6" Type="http://schemas.openxmlformats.org/officeDocument/2006/relationships/tags" Target="../tags/tag623.xml"/><Relationship Id="rId11" Type="http://schemas.openxmlformats.org/officeDocument/2006/relationships/tags" Target="../tags/tag628.xml"/><Relationship Id="rId5" Type="http://schemas.openxmlformats.org/officeDocument/2006/relationships/tags" Target="../tags/tag622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627.xml"/><Relationship Id="rId19" Type="http://schemas.openxmlformats.org/officeDocument/2006/relationships/image" Target="../media/image49.png"/><Relationship Id="rId4" Type="http://schemas.openxmlformats.org/officeDocument/2006/relationships/tags" Target="../tags/tag621.xml"/><Relationship Id="rId9" Type="http://schemas.openxmlformats.org/officeDocument/2006/relationships/tags" Target="../tags/tag626.xml"/><Relationship Id="rId14" Type="http://schemas.openxmlformats.org/officeDocument/2006/relationships/tags" Target="../tags/tag6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51;p15"/>
          <p:cNvSpPr txBox="1"/>
          <p:nvPr/>
        </p:nvSpPr>
        <p:spPr>
          <a:xfrm>
            <a:off x="3438668" y="4746036"/>
            <a:ext cx="4344032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ru-RU" sz="900" b="1" kern="0" dirty="0" smtClean="0">
                <a:solidFill>
                  <a:srgbClr val="2F5597"/>
                </a:solidFill>
                <a:latin typeface="+mn-lt"/>
                <a:ea typeface="Arial"/>
                <a:cs typeface="Segoe UI Light" pitchFamily="34" charset="0"/>
                <a:sym typeface="Arial"/>
              </a:rPr>
              <a:t>2024 </a:t>
            </a:r>
            <a:r>
              <a:rPr lang="ru-RU" sz="900" b="1" kern="0" dirty="0">
                <a:solidFill>
                  <a:srgbClr val="2F5597"/>
                </a:solidFill>
                <a:latin typeface="+mn-lt"/>
                <a:ea typeface="Arial"/>
                <a:cs typeface="Segoe UI Light" pitchFamily="34" charset="0"/>
                <a:sym typeface="Arial"/>
              </a:rPr>
              <a:t>год</a:t>
            </a:r>
            <a:endParaRPr sz="900" b="1" kern="0" dirty="0">
              <a:solidFill>
                <a:srgbClr val="2F5597"/>
              </a:solidFill>
              <a:latin typeface="+mn-lt"/>
              <a:ea typeface="Arial"/>
              <a:cs typeface="Segoe UI Light" pitchFamily="34" charset="0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284A948F-A1C6-4DA7-912E-DBB20A8643D3}"/>
              </a:ext>
            </a:extLst>
          </p:cNvPr>
          <p:cNvSpPr txBox="1"/>
          <p:nvPr/>
        </p:nvSpPr>
        <p:spPr>
          <a:xfrm>
            <a:off x="3615122" y="2483608"/>
            <a:ext cx="53078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800" b="1" dirty="0" smtClean="0">
                <a:solidFill>
                  <a:srgbClr val="4472C4">
                    <a:lumMod val="75000"/>
                  </a:srgbClr>
                </a:solidFill>
                <a:latin typeface="+mj-lt"/>
                <a:ea typeface="Segoe UI Black" pitchFamily="34" charset="0"/>
                <a:cs typeface="Arial"/>
                <a:sym typeface="Arial"/>
              </a:rPr>
              <a:t>Взаимодействие БНС с академической средой</a:t>
            </a:r>
            <a:endParaRPr lang="ru-RU" sz="1800" dirty="0">
              <a:solidFill>
                <a:srgbClr val="4472C4">
                  <a:lumMod val="75000"/>
                </a:srgbClr>
              </a:solidFill>
              <a:latin typeface="+mj-lt"/>
              <a:ea typeface="Segoe UI Black" pitchFamily="34" charset="0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84A948F-A1C6-4DA7-912E-DBB20A8643D3}"/>
              </a:ext>
            </a:extLst>
          </p:cNvPr>
          <p:cNvSpPr txBox="1"/>
          <p:nvPr/>
        </p:nvSpPr>
        <p:spPr>
          <a:xfrm>
            <a:off x="4940300" y="3348205"/>
            <a:ext cx="4070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k-KZ" i="1" dirty="0" smtClean="0">
                <a:solidFill>
                  <a:schemeClr val="accent1">
                    <a:lumMod val="75000"/>
                  </a:schemeClr>
                </a:solidFill>
              </a:rPr>
              <a:t>Бексаутова Гульмира Бауыржановна</a:t>
            </a:r>
          </a:p>
          <a:p>
            <a:pPr algn="r"/>
            <a:r>
              <a:rPr lang="kk-KZ" sz="1000" i="1" dirty="0" smtClean="0">
                <a:solidFill>
                  <a:schemeClr val="accent1">
                    <a:lumMod val="75000"/>
                  </a:schemeClr>
                </a:solidFill>
              </a:rPr>
              <a:t>Директор </a:t>
            </a:r>
            <a:r>
              <a:rPr lang="kk-KZ" sz="1000" i="1" dirty="0" smtClean="0">
                <a:solidFill>
                  <a:schemeClr val="accent1">
                    <a:lumMod val="75000"/>
                  </a:schemeClr>
                </a:solidFill>
              </a:rPr>
              <a:t>Департамента</a:t>
            </a:r>
          </a:p>
          <a:p>
            <a:pPr algn="r"/>
            <a:r>
              <a:rPr lang="kk-KZ" sz="1000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kk-KZ" sz="1000" i="1" dirty="0" smtClean="0">
                <a:solidFill>
                  <a:schemeClr val="accent1">
                    <a:lumMod val="75000"/>
                  </a:schemeClr>
                </a:solidFill>
              </a:rPr>
              <a:t>развития человеческих </a:t>
            </a:r>
            <a:r>
              <a:rPr lang="kk-KZ" sz="1000" i="1" dirty="0" smtClean="0">
                <a:solidFill>
                  <a:schemeClr val="accent1">
                    <a:lumMod val="75000"/>
                  </a:schemeClr>
                </a:solidFill>
              </a:rPr>
              <a:t>ресурсов</a:t>
            </a:r>
            <a:endParaRPr lang="kk-KZ" sz="1000" i="1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7457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 txBox="1">
            <a:spLocks/>
          </p:cNvSpPr>
          <p:nvPr/>
        </p:nvSpPr>
        <p:spPr bwMode="auto">
          <a:xfrm>
            <a:off x="513971" y="630257"/>
            <a:ext cx="4026224" cy="363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685800" fontAlgn="auto">
              <a:spcBef>
                <a:spcPts val="0"/>
              </a:spcBef>
              <a:spcAft>
                <a:spcPts val="0"/>
              </a:spcAft>
              <a:tabLst>
                <a:tab pos="206508" algn="l"/>
              </a:tabLst>
              <a:defRPr/>
            </a:pPr>
            <a:r>
              <a:rPr lang="kk-KZ" sz="1400" b="1" dirty="0" smtClean="0">
                <a:solidFill>
                  <a:schemeClr val="tx2"/>
                </a:solidFill>
                <a:latin typeface="Nunito Sans"/>
              </a:rPr>
              <a:t>Создана открытая </a:t>
            </a:r>
            <a:r>
              <a:rPr lang="kk-KZ" sz="1400" b="1" dirty="0">
                <a:solidFill>
                  <a:schemeClr val="tx2"/>
                </a:solidFill>
                <a:latin typeface="Nunito Sans"/>
              </a:rPr>
              <a:t>обучающая </a:t>
            </a:r>
            <a:r>
              <a:rPr lang="kk-KZ" sz="1400" b="1" dirty="0" smtClean="0">
                <a:solidFill>
                  <a:schemeClr val="tx2"/>
                </a:solidFill>
                <a:latin typeface="Nunito Sans"/>
              </a:rPr>
              <a:t>платформа</a:t>
            </a:r>
          </a:p>
          <a:p>
            <a:pPr lvl="0" defTabSz="685800" fontAlgn="auto">
              <a:spcBef>
                <a:spcPts val="0"/>
              </a:spcBef>
              <a:spcAft>
                <a:spcPts val="0"/>
              </a:spcAft>
              <a:tabLst>
                <a:tab pos="206508" algn="l"/>
              </a:tabLst>
              <a:defRPr/>
            </a:pPr>
            <a:endParaRPr lang="kk-KZ" sz="1400" dirty="0" smtClean="0">
              <a:solidFill>
                <a:schemeClr val="tx2"/>
              </a:solidFill>
              <a:latin typeface="Nunito Sans"/>
            </a:endParaRPr>
          </a:p>
        </p:txBody>
      </p: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p:oleObj spid="_x0000_s190466" name="think-cell Slide" r:id="rId5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143202" y="1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ＭＳ Ｐゴシック" panose="020B0600070205080204" pitchFamily="34" charset="-128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cxnSp>
        <p:nvCxnSpPr>
          <p:cNvPr id="50" name="Straight Connector 318">
            <a:extLst>
              <a:ext uri="{FF2B5EF4-FFF2-40B4-BE49-F238E27FC236}">
                <a16:creationId xmlns="" xmlns:a16="http://schemas.microsoft.com/office/drawing/2014/main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35695" y="553800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58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94171" y="114355"/>
            <a:ext cx="414000" cy="41343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kk-KZ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3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sp>
        <p:nvSpPr>
          <p:cNvPr id="70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266" y="186452"/>
            <a:ext cx="5897603" cy="332163"/>
          </a:xfrm>
          <a:ln>
            <a:noFill/>
          </a:ln>
        </p:spPr>
        <p:txBody>
          <a:bodyPr/>
          <a:lstStyle/>
          <a:p>
            <a:r>
              <a:rPr lang="ru-RU" sz="2000" b="1" dirty="0" smtClean="0">
                <a:solidFill>
                  <a:srgbClr val="FFC000"/>
                </a:solidFill>
                <a:latin typeface="Nunito Sans"/>
              </a:rPr>
              <a:t>ИНИЦИАТИВА DATA LITERACY</a:t>
            </a:r>
            <a:br>
              <a:rPr lang="ru-RU" sz="2000" b="1" dirty="0" smtClean="0">
                <a:solidFill>
                  <a:srgbClr val="FFC000"/>
                </a:solidFill>
                <a:latin typeface="Nunito Sans"/>
              </a:rPr>
            </a:br>
            <a:endParaRPr lang="ru-RU" sz="2000" b="1" dirty="0">
              <a:solidFill>
                <a:srgbClr val="FFC000"/>
              </a:solidFill>
              <a:latin typeface="Nunito Sans"/>
            </a:endParaRPr>
          </a:p>
        </p:txBody>
      </p:sp>
      <p:pic>
        <p:nvPicPr>
          <p:cNvPr id="46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930" t="30142" r="13833" b="16698"/>
          <a:stretch/>
        </p:blipFill>
        <p:spPr bwMode="auto">
          <a:xfrm>
            <a:off x="389611" y="947644"/>
            <a:ext cx="2576225" cy="17837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1" name="Группа 76"/>
          <p:cNvGrpSpPr/>
          <p:nvPr/>
        </p:nvGrpSpPr>
        <p:grpSpPr>
          <a:xfrm>
            <a:off x="4595230" y="618059"/>
            <a:ext cx="2449626" cy="307777"/>
            <a:chOff x="515875" y="3201789"/>
            <a:chExt cx="2449626" cy="307777"/>
          </a:xfrm>
        </p:grpSpPr>
        <p:sp>
          <p:nvSpPr>
            <p:cNvPr id="52" name="Прямоугольник 51"/>
            <p:cNvSpPr/>
            <p:nvPr/>
          </p:nvSpPr>
          <p:spPr>
            <a:xfrm>
              <a:off x="625309" y="3201789"/>
              <a:ext cx="234019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latin typeface="Nunito Sans"/>
                </a:rPr>
                <a:t>dataliteracyhub.stat.gov.kz </a:t>
              </a:r>
              <a:endParaRPr lang="en-US" sz="1400" dirty="0">
                <a:latin typeface="Nunito Sans"/>
              </a:endParaRPr>
            </a:p>
          </p:txBody>
        </p:sp>
        <p:pic>
          <p:nvPicPr>
            <p:cNvPr id="53" name="Picture 13" descr="C:\Users\a.adilbekova\Downloads\751463 (1)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5875" y="3287176"/>
              <a:ext cx="207770" cy="207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5" name="Прямоугольник 54"/>
          <p:cNvSpPr/>
          <p:nvPr/>
        </p:nvSpPr>
        <p:spPr>
          <a:xfrm>
            <a:off x="3172570" y="955604"/>
            <a:ext cx="59714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85800" fontAlgn="auto">
              <a:spcBef>
                <a:spcPts val="0"/>
              </a:spcBef>
              <a:spcAft>
                <a:spcPts val="0"/>
              </a:spcAft>
              <a:tabLst>
                <a:tab pos="206508" algn="l"/>
              </a:tabLst>
              <a:defRPr/>
            </a:pPr>
            <a:r>
              <a:rPr lang="kk-KZ" sz="1400" dirty="0" smtClean="0">
                <a:latin typeface="Nunito Sans"/>
              </a:rPr>
              <a:t>Платформа предоставляет возможность доступа к онлайн курсам в области статистики и анализа данных</a:t>
            </a:r>
            <a:endParaRPr lang="en-US" sz="1400" kern="0" dirty="0" smtClean="0"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75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 txBox="1">
            <a:spLocks/>
          </p:cNvSpPr>
          <p:nvPr/>
        </p:nvSpPr>
        <p:spPr bwMode="auto">
          <a:xfrm>
            <a:off x="724267" y="3651732"/>
            <a:ext cx="7495565" cy="292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tabLst>
                <a:tab pos="206508" algn="l"/>
              </a:tabLst>
              <a:defRPr/>
            </a:pPr>
            <a:r>
              <a:rPr lang="ru-RU" sz="1400" dirty="0" smtClean="0">
                <a:latin typeface="Nunito Sans"/>
              </a:rPr>
              <a:t>Проведена работа по разработке и переводу анкет, тестов  совместного курса</a:t>
            </a:r>
            <a:endParaRPr lang="en-US" sz="1400" dirty="0" smtClean="0">
              <a:latin typeface="Nunito Sans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639483" y="3207917"/>
            <a:ext cx="70971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85800" fontAlgn="auto">
              <a:spcBef>
                <a:spcPts val="0"/>
              </a:spcBef>
              <a:spcAft>
                <a:spcPts val="0"/>
              </a:spcAft>
              <a:tabLst>
                <a:tab pos="206508" algn="l"/>
              </a:tabLst>
              <a:defRPr/>
            </a:pPr>
            <a:r>
              <a:rPr lang="ru-RU" sz="1400" dirty="0" smtClean="0">
                <a:latin typeface="Nunito Sans"/>
              </a:rPr>
              <a:t>Разработан  совместный </a:t>
            </a:r>
            <a:r>
              <a:rPr lang="ru-RU" sz="1400" dirty="0" smtClean="0"/>
              <a:t>«Модульный курс для государственных служащих»</a:t>
            </a:r>
            <a:r>
              <a:rPr lang="ru-RU" sz="1400" dirty="0" smtClean="0">
                <a:latin typeface="Nunito Sans"/>
              </a:rPr>
              <a:t> с ВБ</a:t>
            </a:r>
            <a:endParaRPr lang="en-US" sz="1400" dirty="0" smtClean="0">
              <a:latin typeface="Nunito Sans"/>
            </a:endParaRPr>
          </a:p>
        </p:txBody>
      </p:sp>
      <p:sp>
        <p:nvSpPr>
          <p:cNvPr id="78" name="Rectangle 3"/>
          <p:cNvSpPr>
            <a:spLocks noChangeArrowheads="1"/>
          </p:cNvSpPr>
          <p:nvPr/>
        </p:nvSpPr>
        <p:spPr bwMode="auto">
          <a:xfrm>
            <a:off x="631555" y="3944368"/>
            <a:ext cx="79248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06508" algn="l"/>
              </a:tabLst>
              <a:defRPr/>
            </a:pPr>
            <a:r>
              <a:rPr lang="ru-RU" sz="1400" dirty="0" smtClean="0">
                <a:latin typeface="Nunito Sans"/>
              </a:rPr>
              <a:t>До конца апреля будет запущен пилот по указанному курсу для сотрудников БНС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672884" y="4309920"/>
            <a:ext cx="8039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85800" fontAlgn="auto">
              <a:spcBef>
                <a:spcPts val="0"/>
              </a:spcBef>
              <a:spcAft>
                <a:spcPts val="0"/>
              </a:spcAft>
              <a:tabLst>
                <a:tab pos="206508" algn="l"/>
              </a:tabLst>
              <a:defRPr/>
            </a:pPr>
            <a:r>
              <a:rPr lang="ru-RU" sz="1400" dirty="0" smtClean="0">
                <a:latin typeface="Nunito Sans"/>
              </a:rPr>
              <a:t>Курс будут проходить 120 государственных служащих из Казахстана, Киргизии, Таджикистана и Узбекистана, по 30 человек с каждой страны</a:t>
            </a:r>
          </a:p>
        </p:txBody>
      </p:sp>
      <p:pic>
        <p:nvPicPr>
          <p:cNvPr id="80" name="Picture 122" descr="Check mark 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6814" y="4444834"/>
            <a:ext cx="377495" cy="37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122" descr="Check mark 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6339" y="3162917"/>
            <a:ext cx="377495" cy="37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22" descr="Check mark 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7289" y="3582017"/>
            <a:ext cx="377495" cy="37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22" descr="Check mark 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7289" y="3978109"/>
            <a:ext cx="377495" cy="37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89" name="Straight Connector 318">
            <a:extLst>
              <a:ext uri="{FF2B5EF4-FFF2-40B4-BE49-F238E27FC236}">
                <a16:creationId xmlns="" xmlns:a16="http://schemas.microsoft.com/office/drawing/2014/main" id="{1FA0E02C-76E7-AF86-F3D4-D4E7A7BE5C0D}"/>
              </a:ext>
            </a:extLst>
          </p:cNvPr>
          <p:cNvCxnSpPr>
            <a:cxnSpLocks/>
          </p:cNvCxnSpPr>
          <p:nvPr/>
        </p:nvCxnSpPr>
        <p:spPr>
          <a:xfrm flipV="1">
            <a:off x="377030" y="3053301"/>
            <a:ext cx="8242183" cy="1918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pic>
        <p:nvPicPr>
          <p:cNvPr id="91" name="Рисунок 90" descr="image_2023-09-29_18_28_10.png"/>
          <p:cNvPicPr>
            <a:picLocks noChangeAspect="1"/>
          </p:cNvPicPr>
          <p:nvPr/>
        </p:nvPicPr>
        <p:blipFill>
          <a:blip r:embed="rId9" cstate="print"/>
          <a:srcRect l="15903" t="17408" r="15902" b="27037"/>
          <a:stretch>
            <a:fillRect/>
          </a:stretch>
        </p:blipFill>
        <p:spPr>
          <a:xfrm>
            <a:off x="3240489" y="1502797"/>
            <a:ext cx="2484450" cy="12534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2" name="Picture 3"/>
          <p:cNvPicPr>
            <a:picLocks noChangeAspect="1" noChangeArrowheads="1"/>
          </p:cNvPicPr>
          <p:nvPr/>
        </p:nvPicPr>
        <p:blipFill>
          <a:blip r:embed="rId10" cstate="print"/>
          <a:srcRect l="16724" t="21456" r="15603" b="11877"/>
          <a:stretch>
            <a:fillRect/>
          </a:stretch>
        </p:blipFill>
        <p:spPr bwMode="auto">
          <a:xfrm>
            <a:off x="5998950" y="1463041"/>
            <a:ext cx="2405579" cy="13070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object 1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8609604" y="29485"/>
            <a:ext cx="498766" cy="51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32531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C:\Users\gbeksautova\Downloads\Дататон 2022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99083" y="1242204"/>
            <a:ext cx="5652309" cy="3607774"/>
          </a:xfrm>
          <a:prstGeom prst="rect">
            <a:avLst/>
          </a:prstGeom>
          <a:noFill/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p:oleObj spid="_x0000_s193538" name="think-cell Slide" r:id="rId6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143202" y="1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ＭＳ Ｐゴシック" panose="020B0600070205080204" pitchFamily="34" charset="-128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5044" y="744099"/>
            <a:ext cx="2522456" cy="1740113"/>
          </a:xfrm>
          <a:prstGeom prst="rect">
            <a:avLst/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" name="Прямоугольник 10"/>
          <p:cNvSpPr/>
          <p:nvPr/>
        </p:nvSpPr>
        <p:spPr>
          <a:xfrm>
            <a:off x="3008342" y="612643"/>
            <a:ext cx="593497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err="1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Qazdatathon</a:t>
            </a:r>
            <a:r>
              <a:rPr lang="ru-RU" sz="1200" i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 – </a:t>
            </a:r>
            <a:r>
              <a:rPr lang="ru-RU" sz="1100" i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это конкурс </a:t>
            </a:r>
            <a:r>
              <a:rPr lang="ru-RU" sz="1100" i="1" dirty="0" err="1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дата-проектов</a:t>
            </a:r>
            <a:r>
              <a:rPr lang="ru-RU" sz="1100" i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 в целях поиска новых подходов решения социально-экономических,  методологических проблем на основе данных, а также продвижения культуры управления данным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1832" y="2574913"/>
            <a:ext cx="213459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i="1" dirty="0" smtClean="0">
                <a:latin typeface="Nunito Sans"/>
                <a:hlinkClick r:id="rId8"/>
              </a:rPr>
              <a:t>https://datathon.kz/#/2022</a:t>
            </a:r>
            <a:r>
              <a:rPr lang="ru-RU" sz="1200" i="1" dirty="0" smtClean="0">
                <a:latin typeface="Nunito Sans"/>
              </a:rPr>
              <a:t>    </a:t>
            </a:r>
            <a:endParaRPr lang="ru-RU" sz="1200" i="1" dirty="0">
              <a:latin typeface="Nunito San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644764" y="4506987"/>
            <a:ext cx="30387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Победители QAZDATATHON 2022</a:t>
            </a:r>
            <a:endParaRPr lang="en-US" sz="1200" b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cxnSp>
        <p:nvCxnSpPr>
          <p:cNvPr id="24" name="Straight Connector 318">
            <a:extLst>
              <a:ext uri="{FF2B5EF4-FFF2-40B4-BE49-F238E27FC236}">
                <a16:creationId xmlns:a16="http://schemas.microsoft.com/office/drawing/2014/main" xmlns="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61575" y="571057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pic>
        <p:nvPicPr>
          <p:cNvPr id="103428" name="Picture 4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72529" y="3010620"/>
            <a:ext cx="1483744" cy="1587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7" name="Ромб 46"/>
          <p:cNvSpPr/>
          <p:nvPr/>
        </p:nvSpPr>
        <p:spPr>
          <a:xfrm>
            <a:off x="819507" y="3140015"/>
            <a:ext cx="396814" cy="405442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48" name="Ромб 47"/>
          <p:cNvSpPr/>
          <p:nvPr/>
        </p:nvSpPr>
        <p:spPr>
          <a:xfrm>
            <a:off x="195528" y="3536830"/>
            <a:ext cx="744748" cy="526211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49" name="Ромб 48"/>
          <p:cNvSpPr/>
          <p:nvPr/>
        </p:nvSpPr>
        <p:spPr>
          <a:xfrm>
            <a:off x="632597" y="4008406"/>
            <a:ext cx="744748" cy="526211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I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544123" y="3113936"/>
            <a:ext cx="169077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Казахстанский филиал МГУ им. М.В.Ломоносова</a:t>
            </a:r>
            <a:endParaRPr lang="en-US" sz="1050" b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306456" y="3689033"/>
            <a:ext cx="158913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err="1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КарУ</a:t>
            </a:r>
            <a:r>
              <a:rPr lang="ru-RU" sz="105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 им.  Е.А. </a:t>
            </a:r>
            <a:r>
              <a:rPr lang="ru-RU" sz="1050" b="1" dirty="0" err="1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Букетова</a:t>
            </a:r>
            <a:endParaRPr lang="en-US" sz="1050" b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467487" y="4134735"/>
            <a:ext cx="158913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МУИТ</a:t>
            </a:r>
            <a:endParaRPr lang="en-US" sz="1050" b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2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75121" y="50855"/>
            <a:ext cx="414000" cy="41343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kk-KZ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3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sp>
        <p:nvSpPr>
          <p:cNvPr id="23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 txBox="1">
            <a:spLocks/>
          </p:cNvSpPr>
          <p:nvPr/>
        </p:nvSpPr>
        <p:spPr bwMode="auto">
          <a:xfrm>
            <a:off x="656166" y="142002"/>
            <a:ext cx="8274791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defTabSz="685122">
              <a:tabLst>
                <a:tab pos="206508" algn="l"/>
              </a:tabLst>
            </a:pPr>
            <a:r>
              <a:rPr lang="ru-RU" sz="2000" b="1" kern="0" dirty="0" smtClean="0">
                <a:solidFill>
                  <a:schemeClr val="accent3"/>
                </a:solidFill>
                <a:latin typeface="Nunito Sans"/>
                <a:ea typeface="+mj-ea"/>
                <a:cs typeface="+mj-cs"/>
              </a:rPr>
              <a:t>Национальный конкурс по работе с данными </a:t>
            </a:r>
            <a:r>
              <a:rPr lang="ru-RU" sz="2000" b="1" kern="0" dirty="0" smtClean="0">
                <a:solidFill>
                  <a:schemeClr val="accent3"/>
                </a:solidFill>
                <a:latin typeface="Nunito Sans"/>
              </a:rPr>
              <a:t>QAZDATATHON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Nunito Sans"/>
              <a:ea typeface="+mj-ea"/>
              <a:cs typeface="+mj-cs"/>
            </a:endParaRPr>
          </a:p>
        </p:txBody>
      </p:sp>
      <p:pic>
        <p:nvPicPr>
          <p:cNvPr id="21" name="object 13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609604" y="29485"/>
            <a:ext cx="498766" cy="51678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4745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 descr="photo_5420385071745059819_y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4450" y="1555220"/>
            <a:ext cx="4988786" cy="33295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p:oleObj spid="_x0000_s157698" name="think-cell Slide" r:id="rId6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143202" y="1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ＭＳ Ｐゴシック" panose="020B0600070205080204" pitchFamily="34" charset="-128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101964" y="4570487"/>
            <a:ext cx="30387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Победители QAZDATATHON 2023</a:t>
            </a:r>
            <a:endParaRPr lang="en-US" sz="1200" b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cxnSp>
        <p:nvCxnSpPr>
          <p:cNvPr id="24" name="Straight Connector 318">
            <a:extLst>
              <a:ext uri="{FF2B5EF4-FFF2-40B4-BE49-F238E27FC236}">
                <a16:creationId xmlns:a16="http://schemas.microsoft.com/office/drawing/2014/main" xmlns="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61575" y="571057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pic>
        <p:nvPicPr>
          <p:cNvPr id="103428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18579" y="3086820"/>
            <a:ext cx="1483744" cy="1587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7" name="Ромб 46"/>
          <p:cNvSpPr/>
          <p:nvPr/>
        </p:nvSpPr>
        <p:spPr>
          <a:xfrm>
            <a:off x="959207" y="3216215"/>
            <a:ext cx="396814" cy="405442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48" name="Ромб 47"/>
          <p:cNvSpPr/>
          <p:nvPr/>
        </p:nvSpPr>
        <p:spPr>
          <a:xfrm>
            <a:off x="341578" y="3600330"/>
            <a:ext cx="744748" cy="526211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49" name="Ромб 48"/>
          <p:cNvSpPr/>
          <p:nvPr/>
        </p:nvSpPr>
        <p:spPr>
          <a:xfrm>
            <a:off x="784997" y="4052856"/>
            <a:ext cx="744748" cy="526211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I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715573" y="3221886"/>
            <a:ext cx="66567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KPMG</a:t>
            </a:r>
            <a:endParaRPr lang="en-US" sz="900" b="1" i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516006" y="3752533"/>
            <a:ext cx="191934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КБТУ</a:t>
            </a:r>
            <a:endParaRPr lang="en-US" sz="900" b="1" i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613537" y="4210935"/>
            <a:ext cx="177101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ЕНУ им.Л.Н. Гумилева</a:t>
            </a:r>
            <a:endParaRPr lang="en-US" sz="1050" b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2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75121" y="50855"/>
            <a:ext cx="414000" cy="41343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kk-KZ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3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sp>
        <p:nvSpPr>
          <p:cNvPr id="23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 txBox="1">
            <a:spLocks/>
          </p:cNvSpPr>
          <p:nvPr/>
        </p:nvSpPr>
        <p:spPr bwMode="auto">
          <a:xfrm>
            <a:off x="656166" y="142002"/>
            <a:ext cx="8274791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defTabSz="685122">
              <a:tabLst>
                <a:tab pos="206508" algn="l"/>
              </a:tabLst>
            </a:pPr>
            <a:r>
              <a:rPr lang="ru-RU" sz="2000" b="1" kern="0" dirty="0" smtClean="0">
                <a:solidFill>
                  <a:schemeClr val="accent3"/>
                </a:solidFill>
                <a:latin typeface="Nunito Sans"/>
              </a:rPr>
              <a:t>QAZDATATHON 2023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Nunito Sans"/>
              <a:ea typeface="+mj-ea"/>
              <a:cs typeface="+mj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859243" y="892043"/>
            <a:ext cx="4979957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err="1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Qazdatathon</a:t>
            </a:r>
            <a:r>
              <a:rPr lang="ru-RU" sz="1200" i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 - </a:t>
            </a:r>
            <a:r>
              <a:rPr lang="ru-RU" sz="1100" i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в 2023 году конкурс проведен для широкого круга участников</a:t>
            </a:r>
          </a:p>
        </p:txBody>
      </p:sp>
      <p:pic>
        <p:nvPicPr>
          <p:cNvPr id="28" name="Рисунок 27" descr="image_2024-02-16_11_17_52.png"/>
          <p:cNvPicPr>
            <a:picLocks noChangeAspect="1"/>
          </p:cNvPicPr>
          <p:nvPr/>
        </p:nvPicPr>
        <p:blipFill>
          <a:blip r:embed="rId8" cstate="print"/>
          <a:srcRect l="15139" t="8519" r="16806" b="17901"/>
          <a:stretch>
            <a:fillRect/>
          </a:stretch>
        </p:blipFill>
        <p:spPr>
          <a:xfrm>
            <a:off x="260350" y="666750"/>
            <a:ext cx="3149600" cy="1915471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696782" y="2632063"/>
            <a:ext cx="213459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i="1" dirty="0" smtClean="0">
                <a:latin typeface="Nunito Sans"/>
                <a:hlinkClick r:id="rId9"/>
              </a:rPr>
              <a:t>https://datathon.kz/#/</a:t>
            </a:r>
            <a:r>
              <a:rPr lang="ru-RU" sz="1200" i="1" dirty="0" smtClean="0">
                <a:latin typeface="Nunito Sans"/>
              </a:rPr>
              <a:t>    </a:t>
            </a:r>
            <a:endParaRPr lang="ru-RU" sz="1200" i="1" dirty="0">
              <a:latin typeface="Nunito Sans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209033" y="78352"/>
            <a:ext cx="3934967" cy="3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64745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51;p15"/>
          <p:cNvSpPr txBox="1"/>
          <p:nvPr/>
        </p:nvSpPr>
        <p:spPr>
          <a:xfrm>
            <a:off x="3438668" y="4746036"/>
            <a:ext cx="4344032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ru-RU" sz="900" b="1" kern="0" dirty="0" smtClean="0">
                <a:solidFill>
                  <a:srgbClr val="2F5597"/>
                </a:solidFill>
                <a:latin typeface="+mn-lt"/>
                <a:ea typeface="Arial"/>
                <a:cs typeface="Segoe UI Light" pitchFamily="34" charset="0"/>
                <a:sym typeface="Arial"/>
              </a:rPr>
              <a:t>2024 </a:t>
            </a:r>
            <a:r>
              <a:rPr lang="ru-RU" sz="900" b="1" kern="0" dirty="0">
                <a:solidFill>
                  <a:srgbClr val="2F5597"/>
                </a:solidFill>
                <a:latin typeface="+mn-lt"/>
                <a:ea typeface="Arial"/>
                <a:cs typeface="Segoe UI Light" pitchFamily="34" charset="0"/>
                <a:sym typeface="Arial"/>
              </a:rPr>
              <a:t>год</a:t>
            </a:r>
            <a:endParaRPr sz="900" b="1" kern="0" dirty="0">
              <a:solidFill>
                <a:srgbClr val="2F5597"/>
              </a:solidFill>
              <a:latin typeface="+mn-lt"/>
              <a:ea typeface="Arial"/>
              <a:cs typeface="Segoe UI Light" pitchFamily="34" charset="0"/>
              <a:sym typeface="Arial"/>
            </a:endParaRPr>
          </a:p>
        </p:txBody>
      </p:sp>
      <p:pic>
        <p:nvPicPr>
          <p:cNvPr id="19456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3554972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284A948F-A1C6-4DA7-912E-DBB20A8643D3}"/>
              </a:ext>
            </a:extLst>
          </p:cNvPr>
          <p:cNvSpPr txBox="1"/>
          <p:nvPr/>
        </p:nvSpPr>
        <p:spPr>
          <a:xfrm>
            <a:off x="4095750" y="2101121"/>
            <a:ext cx="4807124" cy="162352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endParaRPr lang="ru-RU" sz="1900" b="1" dirty="0">
              <a:latin typeface="Calibri" pitchFamily="34" charset="0"/>
            </a:endParaRPr>
          </a:p>
          <a:p>
            <a:r>
              <a:rPr lang="ru-RU" sz="1900" b="1" dirty="0">
                <a:latin typeface="Calibri" pitchFamily="34" charset="0"/>
              </a:rPr>
              <a:t>           Спасибо за внимание!</a:t>
            </a:r>
            <a:endParaRPr lang="en-US" sz="1900" b="1" dirty="0">
              <a:latin typeface="Calibri" pitchFamily="34" charset="0"/>
            </a:endParaRPr>
          </a:p>
          <a:p>
            <a:endParaRPr lang="en-US" sz="1900" b="1" dirty="0">
              <a:latin typeface="Calibri" pitchFamily="34" charset="0"/>
            </a:endParaRPr>
          </a:p>
          <a:p>
            <a:endParaRPr lang="en-US" sz="1100" b="1" dirty="0">
              <a:solidFill>
                <a:prstClr val="black"/>
              </a:solidFill>
              <a:latin typeface="Calibri" pitchFamily="34" charset="0"/>
            </a:endParaRPr>
          </a:p>
          <a:p>
            <a:endParaRPr lang="en-US" sz="1100" b="1" dirty="0">
              <a:solidFill>
                <a:prstClr val="black"/>
              </a:solidFill>
              <a:latin typeface="Calibri" pitchFamily="34" charset="0"/>
            </a:endParaRPr>
          </a:p>
          <a:p>
            <a:r>
              <a:rPr lang="en-US" sz="1100" b="1" dirty="0" smtClean="0">
                <a:latin typeface="Calibri" pitchFamily="34" charset="0"/>
              </a:rPr>
              <a:t>E-mail</a:t>
            </a:r>
            <a:r>
              <a:rPr lang="ru-RU" sz="1100" b="1" dirty="0">
                <a:latin typeface="Calibri" pitchFamily="34" charset="0"/>
              </a:rPr>
              <a:t>:</a:t>
            </a:r>
            <a:r>
              <a:rPr lang="en-US" sz="1100" b="1" dirty="0">
                <a:latin typeface="Calibri" pitchFamily="34" charset="0"/>
              </a:rPr>
              <a:t> </a:t>
            </a:r>
            <a:r>
              <a:rPr lang="en-US" sz="1100" b="1" dirty="0" smtClean="0">
                <a:latin typeface="Calibri" pitchFamily="34" charset="0"/>
              </a:rPr>
              <a:t>gu.beksautova@aspire.gov.kz</a:t>
            </a:r>
            <a:r>
              <a:rPr lang="ru-RU" sz="1100" b="1" dirty="0" smtClean="0">
                <a:latin typeface="Calibri" pitchFamily="34" charset="0"/>
              </a:rPr>
              <a:t> </a:t>
            </a:r>
            <a:endParaRPr lang="kk-KZ" sz="1100" b="1" dirty="0">
              <a:latin typeface="Calibri" pitchFamily="34" charset="0"/>
            </a:endParaRPr>
          </a:p>
          <a:p>
            <a:r>
              <a:rPr lang="kk-KZ" sz="1100" b="1" dirty="0">
                <a:latin typeface="Calibri" pitchFamily="34" charset="0"/>
              </a:rPr>
              <a:t>Тел. </a:t>
            </a:r>
            <a:r>
              <a:rPr lang="kk-KZ" sz="1100" b="1" dirty="0">
                <a:latin typeface="Calibri" pitchFamily="34" charset="0"/>
              </a:rPr>
              <a:t>+7 7172 </a:t>
            </a:r>
            <a:r>
              <a:rPr lang="kk-KZ" sz="1100" b="1" dirty="0" smtClean="0">
                <a:latin typeface="Calibri" pitchFamily="34" charset="0"/>
              </a:rPr>
              <a:t>74</a:t>
            </a:r>
            <a:r>
              <a:rPr lang="ru-RU" sz="1100" b="1" dirty="0" smtClean="0">
                <a:latin typeface="Calibri" pitchFamily="34" charset="0"/>
              </a:rPr>
              <a:t>9767</a:t>
            </a:r>
            <a:endParaRPr lang="ru-RU" sz="1900" b="1" dirty="0">
              <a:latin typeface="Calibri" pitchFamily="34" charset="0"/>
            </a:endParaRPr>
          </a:p>
        </p:txBody>
      </p:sp>
      <p:pic>
        <p:nvPicPr>
          <p:cNvPr id="19456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87863" y="398463"/>
            <a:ext cx="3081337" cy="1902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267457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p:oleObj spid="_x0000_s181250" name="think-cell Slide" r:id="rId5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143202" y="1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ＭＳ Ｐゴシック" panose="020B0600070205080204" pitchFamily="34" charset="-128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cxnSp>
        <p:nvCxnSpPr>
          <p:cNvPr id="20" name="Straight Connector 318">
            <a:extLst>
              <a:ext uri="{FF2B5EF4-FFF2-40B4-BE49-F238E27FC236}">
                <a16:creationId xmlns:a16="http://schemas.microsoft.com/office/drawing/2014/main" xmlns="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78251" y="608795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pic>
        <p:nvPicPr>
          <p:cNvPr id="115718" name="Picture 6" descr="C:\Users\a.adilbekova\Desktop\Снимаааок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71650" y="1727200"/>
            <a:ext cx="6604000" cy="3245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5">
            <a:extLst>
              <a:ext uri="{FF2B5EF4-FFF2-40B4-BE49-F238E27FC236}">
                <a16:creationId xmlns:a16="http://schemas.microsoft.com/office/drawing/2014/main" xmlns="" id="{528CA4EA-4A79-DE62-B6B4-FE7A4A09FE66}"/>
              </a:ext>
            </a:extLst>
          </p:cNvPr>
          <p:cNvSpPr txBox="1">
            <a:spLocks/>
          </p:cNvSpPr>
          <p:nvPr/>
        </p:nvSpPr>
        <p:spPr bwMode="auto">
          <a:xfrm>
            <a:off x="720239" y="191021"/>
            <a:ext cx="8274791" cy="293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685122">
              <a:tabLst>
                <a:tab pos="206508" algn="l"/>
              </a:tabLst>
              <a:defRPr/>
            </a:pPr>
            <a:r>
              <a:rPr lang="ru-RU" sz="2000" b="1" kern="0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ВЗАИМОДЕЙСТВИЕ БЮРО С АКАДЕМИЧЕСКОЙ СРЕДОЙ</a:t>
            </a:r>
          </a:p>
        </p:txBody>
      </p:sp>
      <p:sp>
        <p:nvSpPr>
          <p:cNvPr id="17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94171" y="114355"/>
            <a:ext cx="414000" cy="413438"/>
          </a:xfrm>
          <a:prstGeom prst="roundRect">
            <a:avLst/>
          </a:prstGeom>
          <a:solidFill>
            <a:srgbClr val="0070CE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ru-RU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1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pic>
        <p:nvPicPr>
          <p:cNvPr id="11" name="object 1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619215" y="13583"/>
            <a:ext cx="500932" cy="495301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99620" y="1450408"/>
            <a:ext cx="33912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tx2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Разработан уникальный прикладной модуль для ВУЗов</a:t>
            </a:r>
            <a:endParaRPr lang="ru-RU" sz="1400" dirty="0">
              <a:solidFill>
                <a:schemeClr val="tx2"/>
              </a:solidFill>
              <a:latin typeface="+mn-lt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6921" y="730776"/>
            <a:ext cx="787180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179">
              <a:buClr>
                <a:srgbClr val="0070CE"/>
              </a:buClr>
              <a:buSzPct val="100000"/>
              <a:defRPr/>
            </a:pPr>
            <a:r>
              <a:rPr lang="ru-RU" sz="1400" b="1" cap="small" dirty="0" smtClean="0">
                <a:solidFill>
                  <a:srgbClr val="00B050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Развитие кадрового потенциала </a:t>
            </a:r>
            <a:r>
              <a:rPr lang="ru-RU" sz="1400" b="1" cap="small" dirty="0" smtClean="0">
                <a:solidFill>
                  <a:srgbClr val="004EA9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в отрасли статистики и </a:t>
            </a:r>
            <a:r>
              <a:rPr lang="ru-RU" sz="1400" b="1" cap="small" dirty="0" smtClean="0">
                <a:solidFill>
                  <a:srgbClr val="00B050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вовлечение</a:t>
            </a:r>
            <a:r>
              <a:rPr lang="ru-RU" sz="1400" b="1" cap="small" dirty="0" smtClean="0">
                <a:solidFill>
                  <a:srgbClr val="004EA9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 сотрудников </a:t>
            </a:r>
            <a:r>
              <a:rPr lang="ru-RU" sz="1400" b="1" cap="small" dirty="0" smtClean="0">
                <a:solidFill>
                  <a:srgbClr val="00B050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в</a:t>
            </a:r>
            <a:r>
              <a:rPr lang="ru-RU" sz="1400" b="1" cap="small" dirty="0" smtClean="0">
                <a:solidFill>
                  <a:srgbClr val="004EA9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 </a:t>
            </a:r>
            <a:r>
              <a:rPr lang="ru-RU" sz="1400" b="1" cap="small" dirty="0" smtClean="0">
                <a:solidFill>
                  <a:srgbClr val="00B050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научно-исследовательскую деятельность</a:t>
            </a:r>
            <a:r>
              <a:rPr lang="ru-RU" sz="1400" b="1" cap="small" dirty="0" smtClean="0">
                <a:solidFill>
                  <a:srgbClr val="004EA9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, а также </a:t>
            </a:r>
            <a:r>
              <a:rPr lang="ru-RU" sz="1400" b="1" cap="small" dirty="0" smtClean="0">
                <a:solidFill>
                  <a:srgbClr val="00B050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популяризация</a:t>
            </a:r>
            <a:r>
              <a:rPr lang="ru-RU" sz="1400" b="1" cap="small" dirty="0" smtClean="0">
                <a:solidFill>
                  <a:srgbClr val="004EA9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 использования статистических </a:t>
            </a:r>
            <a:r>
              <a:rPr lang="ru-RU" sz="1400" b="1" cap="small" dirty="0" smtClean="0">
                <a:solidFill>
                  <a:srgbClr val="00B050"/>
                </a:solidFill>
                <a:latin typeface="Segoe UI Light" pitchFamily="34" charset="0"/>
                <a:ea typeface="Tahoma" panose="020B0604030504040204" pitchFamily="34" charset="0"/>
                <a:cs typeface="Segoe UI Light" pitchFamily="34" charset="0"/>
              </a:rPr>
              <a:t>данных</a:t>
            </a:r>
            <a:endParaRPr lang="ru-RU" sz="1400" b="1" cap="small" dirty="0">
              <a:solidFill>
                <a:srgbClr val="00B050"/>
              </a:solidFill>
              <a:latin typeface="Segoe UI Light" pitchFamily="34" charset="0"/>
              <a:ea typeface="Tahoma" panose="020B0604030504040204" pitchFamily="34" charset="0"/>
              <a:cs typeface="Segoe UI Light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21" y="650509"/>
            <a:ext cx="600409" cy="60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93299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558532" y="1705722"/>
            <a:ext cx="4042664" cy="44050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24314" marR="3810" indent="-215265">
              <a:spcBef>
                <a:spcPts val="75"/>
              </a:spcBef>
              <a:buFont typeface="Wingdings"/>
              <a:buChar char=""/>
              <a:tabLst>
                <a:tab pos="224790" algn="l"/>
              </a:tabLst>
            </a:pPr>
            <a:r>
              <a:rPr lang="ru-RU" sz="1400" spc="-19" dirty="0" smtClean="0">
                <a:latin typeface="Nunito Sans"/>
                <a:cs typeface="Microsoft Sans Serif"/>
              </a:rPr>
              <a:t>Рассматривает</a:t>
            </a:r>
            <a:r>
              <a:rPr lang="ru-RU" sz="1400" spc="23" dirty="0" smtClean="0">
                <a:latin typeface="Nunito Sans"/>
                <a:cs typeface="Microsoft Sans Serif"/>
              </a:rPr>
              <a:t> </a:t>
            </a:r>
            <a:r>
              <a:rPr lang="ru-RU" sz="1400" b="1" spc="-4" dirty="0" smtClean="0">
                <a:latin typeface="Nunito Sans"/>
                <a:cs typeface="Arial"/>
              </a:rPr>
              <a:t>статистику</a:t>
            </a:r>
            <a:r>
              <a:rPr lang="ru-RU" sz="1400" b="1" spc="19" dirty="0" smtClean="0">
                <a:latin typeface="Nunito Sans"/>
                <a:cs typeface="Arial"/>
              </a:rPr>
              <a:t> </a:t>
            </a:r>
            <a:r>
              <a:rPr lang="ru-RU" sz="1400" spc="-49" dirty="0" smtClean="0">
                <a:latin typeface="Nunito Sans"/>
                <a:cs typeface="Microsoft Sans Serif"/>
              </a:rPr>
              <a:t>как</a:t>
            </a:r>
            <a:r>
              <a:rPr lang="ru-RU" sz="1400" spc="4" dirty="0" smtClean="0">
                <a:latin typeface="Nunito Sans"/>
                <a:cs typeface="Microsoft Sans Serif"/>
              </a:rPr>
              <a:t> </a:t>
            </a:r>
            <a:r>
              <a:rPr lang="ru-RU" sz="1400" b="1" spc="-11" dirty="0" smtClean="0">
                <a:latin typeface="Nunito Sans"/>
                <a:cs typeface="Arial"/>
              </a:rPr>
              <a:t>отрасль </a:t>
            </a:r>
            <a:r>
              <a:rPr lang="ru-RU" sz="1400" b="1" spc="-363" dirty="0" smtClean="0">
                <a:latin typeface="Nunito Sans"/>
                <a:cs typeface="Arial"/>
              </a:rPr>
              <a:t> </a:t>
            </a:r>
            <a:r>
              <a:rPr lang="ru-RU" sz="1400" b="1" spc="-8" dirty="0" smtClean="0">
                <a:latin typeface="Nunito Sans"/>
                <a:cs typeface="Arial"/>
              </a:rPr>
              <a:t>академических</a:t>
            </a:r>
            <a:r>
              <a:rPr lang="ru-RU" sz="1400" b="1" spc="26" dirty="0" smtClean="0">
                <a:latin typeface="Nunito Sans"/>
                <a:cs typeface="Arial"/>
              </a:rPr>
              <a:t> </a:t>
            </a:r>
            <a:r>
              <a:rPr lang="ru-RU" sz="1400" b="1" spc="-4" dirty="0" smtClean="0">
                <a:latin typeface="Nunito Sans"/>
                <a:cs typeface="Arial"/>
              </a:rPr>
              <a:t>знаний</a:t>
            </a:r>
            <a:r>
              <a:rPr lang="ru-RU" sz="1400" b="1" dirty="0" smtClean="0">
                <a:latin typeface="Nunito Sans"/>
                <a:cs typeface="Arial"/>
              </a:rPr>
              <a:t> и</a:t>
            </a:r>
            <a:r>
              <a:rPr lang="ru-RU" sz="1400" b="1" spc="-4" dirty="0" smtClean="0">
                <a:latin typeface="Nunito Sans"/>
                <a:cs typeface="Arial"/>
              </a:rPr>
              <a:t> </a:t>
            </a:r>
            <a:r>
              <a:rPr lang="ru-RU" sz="1400" b="1" spc="-8" dirty="0" smtClean="0">
                <a:latin typeface="Nunito Sans"/>
                <a:cs typeface="Arial"/>
              </a:rPr>
              <a:t>науки</a:t>
            </a:r>
            <a:endParaRPr sz="1400">
              <a:latin typeface="Nunito Sans"/>
              <a:cs typeface="Arial"/>
            </a:endParaRPr>
          </a:p>
        </p:txBody>
      </p:sp>
      <p:sp>
        <p:nvSpPr>
          <p:cNvPr id="6" name="object 7"/>
          <p:cNvSpPr txBox="1"/>
          <p:nvPr/>
        </p:nvSpPr>
        <p:spPr>
          <a:xfrm>
            <a:off x="558532" y="2936576"/>
            <a:ext cx="4207764" cy="65594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24314" indent="-215265">
              <a:spcBef>
                <a:spcPts val="75"/>
              </a:spcBef>
              <a:buFont typeface="Wingdings"/>
              <a:buChar char=""/>
              <a:tabLst>
                <a:tab pos="224790" algn="l"/>
              </a:tabLst>
            </a:pPr>
            <a:r>
              <a:rPr lang="ru-RU" sz="1400" spc="-23" dirty="0" smtClean="0">
                <a:latin typeface="Nunito Sans"/>
                <a:cs typeface="Microsoft Sans Serif"/>
              </a:rPr>
              <a:t>Разъясняет</a:t>
            </a:r>
            <a:r>
              <a:rPr lang="ru-RU" sz="1400" spc="15" dirty="0" smtClean="0">
                <a:latin typeface="Nunito Sans"/>
                <a:cs typeface="Microsoft Sans Serif"/>
              </a:rPr>
              <a:t> </a:t>
            </a:r>
            <a:r>
              <a:rPr lang="ru-RU" sz="1400" spc="-19" dirty="0" smtClean="0">
                <a:latin typeface="Nunito Sans"/>
                <a:cs typeface="Microsoft Sans Serif"/>
              </a:rPr>
              <a:t>подходы</a:t>
            </a:r>
            <a:r>
              <a:rPr lang="ru-RU" sz="1400" spc="34" dirty="0" smtClean="0">
                <a:latin typeface="Nunito Sans"/>
                <a:cs typeface="Microsoft Sans Serif"/>
              </a:rPr>
              <a:t> </a:t>
            </a:r>
            <a:r>
              <a:rPr lang="ru-RU" sz="1400" b="1" spc="-8" dirty="0" smtClean="0">
                <a:latin typeface="Nunito Sans"/>
                <a:cs typeface="Arial"/>
              </a:rPr>
              <a:t>дескриптивно-</a:t>
            </a:r>
            <a:endParaRPr lang="ru-RU" sz="1400" dirty="0" smtClean="0">
              <a:latin typeface="Nunito Sans"/>
              <a:cs typeface="Arial"/>
            </a:endParaRPr>
          </a:p>
          <a:p>
            <a:pPr marL="224314"/>
            <a:r>
              <a:rPr lang="ru-RU" sz="1400" b="1" spc="-4" dirty="0" smtClean="0">
                <a:latin typeface="Nunito Sans"/>
                <a:cs typeface="Arial"/>
              </a:rPr>
              <a:t>описательной</a:t>
            </a:r>
            <a:r>
              <a:rPr lang="ru-RU" sz="1400" b="1" spc="34" dirty="0" smtClean="0">
                <a:latin typeface="Nunito Sans"/>
                <a:cs typeface="Arial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и</a:t>
            </a:r>
            <a:r>
              <a:rPr lang="ru-RU" sz="1400" spc="4" dirty="0" smtClean="0">
                <a:latin typeface="Nunito Sans"/>
                <a:cs typeface="Microsoft Sans Serif"/>
              </a:rPr>
              <a:t> </a:t>
            </a:r>
            <a:r>
              <a:rPr lang="ru-RU" sz="1400" spc="-11" dirty="0" smtClean="0">
                <a:latin typeface="Nunito Sans"/>
                <a:cs typeface="Microsoft Sans Serif"/>
              </a:rPr>
              <a:t>индуктивной</a:t>
            </a:r>
            <a:r>
              <a:rPr lang="ru-RU" sz="1400" spc="4" dirty="0" smtClean="0">
                <a:latin typeface="Nunito Sans"/>
                <a:cs typeface="Microsoft Sans Serif"/>
              </a:rPr>
              <a:t> </a:t>
            </a:r>
            <a:r>
              <a:rPr lang="ru-RU" sz="1400" b="1" spc="-4" dirty="0" smtClean="0">
                <a:latin typeface="Nunito Sans"/>
                <a:cs typeface="Arial"/>
              </a:rPr>
              <a:t>статистики,</a:t>
            </a:r>
            <a:endParaRPr lang="ru-RU" sz="1400" dirty="0" smtClean="0">
              <a:latin typeface="Nunito Sans"/>
              <a:cs typeface="Arial"/>
            </a:endParaRPr>
          </a:p>
          <a:p>
            <a:pPr marL="224314"/>
            <a:r>
              <a:rPr lang="ru-RU" sz="1400" spc="-11" dirty="0" smtClean="0">
                <a:latin typeface="Nunito Sans"/>
                <a:cs typeface="Microsoft Sans Serif"/>
              </a:rPr>
              <a:t>статистических</a:t>
            </a:r>
            <a:r>
              <a:rPr lang="ru-RU" sz="1400" spc="-30" dirty="0" smtClean="0">
                <a:latin typeface="Nunito Sans"/>
                <a:cs typeface="Microsoft Sans Serif"/>
              </a:rPr>
              <a:t> </a:t>
            </a:r>
            <a:r>
              <a:rPr lang="ru-RU" sz="1400" b="1" spc="-15" dirty="0" smtClean="0">
                <a:latin typeface="Nunito Sans"/>
                <a:cs typeface="Arial"/>
              </a:rPr>
              <a:t>методов</a:t>
            </a:r>
            <a:endParaRPr sz="1400">
              <a:latin typeface="Nunito Sans"/>
              <a:cs typeface="Arial"/>
            </a:endParaRPr>
          </a:p>
        </p:txBody>
      </p:sp>
      <p:sp>
        <p:nvSpPr>
          <p:cNvPr id="7" name="object 8"/>
          <p:cNvSpPr txBox="1"/>
          <p:nvPr/>
        </p:nvSpPr>
        <p:spPr>
          <a:xfrm>
            <a:off x="558531" y="3692972"/>
            <a:ext cx="3651885" cy="44050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24314" marR="3810" indent="-215265">
              <a:spcBef>
                <a:spcPts val="75"/>
              </a:spcBef>
              <a:buFont typeface="Wingdings"/>
              <a:buChar char=""/>
              <a:tabLst>
                <a:tab pos="224790" algn="l"/>
              </a:tabLst>
            </a:pPr>
            <a:r>
              <a:rPr lang="ru-RU" sz="1400" spc="-34" dirty="0" smtClean="0">
                <a:latin typeface="Nunito Sans"/>
                <a:cs typeface="Microsoft Sans Serif"/>
              </a:rPr>
              <a:t>Фокусируется</a:t>
            </a:r>
            <a:r>
              <a:rPr lang="ru-RU" sz="1400" spc="49" dirty="0" smtClean="0">
                <a:latin typeface="Nunito Sans"/>
                <a:cs typeface="Microsoft Sans Serif"/>
              </a:rPr>
              <a:t> </a:t>
            </a:r>
            <a:r>
              <a:rPr lang="ru-RU" sz="1400" spc="-8" dirty="0" smtClean="0">
                <a:latin typeface="Nunito Sans"/>
                <a:cs typeface="Microsoft Sans Serif"/>
              </a:rPr>
              <a:t>на</a:t>
            </a:r>
            <a:r>
              <a:rPr lang="ru-RU" sz="1400" spc="30" dirty="0" smtClean="0">
                <a:latin typeface="Nunito Sans"/>
                <a:cs typeface="Microsoft Sans Serif"/>
              </a:rPr>
              <a:t> </a:t>
            </a:r>
            <a:r>
              <a:rPr lang="ru-RU" sz="1400" b="1" spc="-11" dirty="0" smtClean="0">
                <a:latin typeface="Nunito Sans"/>
                <a:cs typeface="Arial"/>
              </a:rPr>
              <a:t>математической</a:t>
            </a:r>
            <a:r>
              <a:rPr lang="ru-RU" sz="1400" b="1" spc="34" dirty="0" smtClean="0">
                <a:latin typeface="Nunito Sans"/>
                <a:cs typeface="Arial"/>
              </a:rPr>
              <a:t> </a:t>
            </a:r>
            <a:r>
              <a:rPr lang="ru-RU" sz="1400" b="1" spc="-8" dirty="0" smtClean="0">
                <a:latin typeface="Nunito Sans"/>
                <a:cs typeface="Arial"/>
              </a:rPr>
              <a:t>основе </a:t>
            </a:r>
            <a:r>
              <a:rPr lang="ru-RU" sz="1400" b="1" spc="-363" dirty="0" smtClean="0">
                <a:latin typeface="Nunito Sans"/>
                <a:cs typeface="Arial"/>
              </a:rPr>
              <a:t> </a:t>
            </a:r>
            <a:r>
              <a:rPr lang="ru-RU" sz="1400" b="1" dirty="0" smtClean="0">
                <a:latin typeface="Nunito Sans"/>
                <a:cs typeface="Arial"/>
              </a:rPr>
              <a:t>прикладной</a:t>
            </a:r>
            <a:r>
              <a:rPr lang="ru-RU" sz="1400" b="1" spc="-11" dirty="0" smtClean="0">
                <a:latin typeface="Nunito Sans"/>
                <a:cs typeface="Arial"/>
              </a:rPr>
              <a:t> </a:t>
            </a:r>
            <a:r>
              <a:rPr lang="ru-RU" sz="1400" b="1" spc="-4" dirty="0" smtClean="0">
                <a:latin typeface="Nunito Sans"/>
                <a:cs typeface="Arial"/>
              </a:rPr>
              <a:t>статистики</a:t>
            </a:r>
            <a:endParaRPr lang="ru-RU" sz="1400" dirty="0">
              <a:latin typeface="Nunito Sans"/>
              <a:cs typeface="Arial"/>
            </a:endParaRPr>
          </a:p>
        </p:txBody>
      </p:sp>
      <p:sp>
        <p:nvSpPr>
          <p:cNvPr id="8" name="object 9"/>
          <p:cNvSpPr txBox="1"/>
          <p:nvPr/>
        </p:nvSpPr>
        <p:spPr>
          <a:xfrm>
            <a:off x="508883" y="1304878"/>
            <a:ext cx="3959199" cy="216887"/>
          </a:xfrm>
          <a:prstGeom prst="rect">
            <a:avLst/>
          </a:prstGeom>
          <a:solidFill>
            <a:srgbClr val="DBDBDB"/>
          </a:solidFill>
        </p:spPr>
        <p:txBody>
          <a:bodyPr vert="horz" wrap="square" lIns="0" tIns="31909" rIns="0" bIns="0" rtlCol="0">
            <a:spAutoFit/>
          </a:bodyPr>
          <a:lstStyle/>
          <a:p>
            <a:pPr algn="ctr">
              <a:spcBef>
                <a:spcPts val="251"/>
              </a:spcBef>
            </a:pPr>
            <a:r>
              <a:rPr lang="ru-RU" sz="1200" b="1" spc="-11" dirty="0" smtClean="0">
                <a:solidFill>
                  <a:srgbClr val="1F3863"/>
                </a:solidFill>
                <a:latin typeface="Nunito Sans"/>
                <a:cs typeface="Tahoma"/>
              </a:rPr>
              <a:t>С</a:t>
            </a:r>
            <a:r>
              <a:rPr lang="ru-RU" sz="1200" b="1" spc="-8" dirty="0" smtClean="0">
                <a:solidFill>
                  <a:srgbClr val="1F3863"/>
                </a:solidFill>
                <a:latin typeface="Nunito Sans"/>
                <a:cs typeface="Tahoma"/>
              </a:rPr>
              <a:t>т</a:t>
            </a:r>
            <a:r>
              <a:rPr lang="ru-RU" sz="1200" b="1" spc="-79" dirty="0" smtClean="0">
                <a:solidFill>
                  <a:srgbClr val="1F3863"/>
                </a:solidFill>
                <a:latin typeface="Nunito Sans"/>
                <a:cs typeface="Tahoma"/>
              </a:rPr>
              <a:t>андартный</a:t>
            </a:r>
            <a:r>
              <a:rPr lang="ru-RU" sz="1200" b="1" spc="-64" dirty="0" smtClean="0">
                <a:solidFill>
                  <a:srgbClr val="1F3863"/>
                </a:solidFill>
                <a:latin typeface="Nunito Sans"/>
                <a:cs typeface="Tahoma"/>
              </a:rPr>
              <a:t> </a:t>
            </a:r>
            <a:r>
              <a:rPr lang="ru-RU" sz="1200" b="1" spc="-60" dirty="0" smtClean="0">
                <a:solidFill>
                  <a:srgbClr val="1F3863"/>
                </a:solidFill>
                <a:latin typeface="Nunito Sans"/>
                <a:cs typeface="Tahoma"/>
              </a:rPr>
              <a:t>ку</a:t>
            </a:r>
            <a:r>
              <a:rPr lang="ru-RU" sz="1200" b="1" spc="-64" dirty="0" smtClean="0">
                <a:solidFill>
                  <a:srgbClr val="1F3863"/>
                </a:solidFill>
                <a:latin typeface="Nunito Sans"/>
                <a:cs typeface="Tahoma"/>
              </a:rPr>
              <a:t>рс</a:t>
            </a:r>
            <a:r>
              <a:rPr lang="ru-RU" sz="1200" b="1" spc="-68" dirty="0" smtClean="0">
                <a:solidFill>
                  <a:srgbClr val="1F3863"/>
                </a:solidFill>
                <a:latin typeface="Nunito Sans"/>
                <a:cs typeface="Tahoma"/>
              </a:rPr>
              <a:t> </a:t>
            </a:r>
            <a:r>
              <a:rPr lang="ru-RU" sz="1200" b="1" spc="-71" dirty="0" smtClean="0">
                <a:solidFill>
                  <a:srgbClr val="1F3863"/>
                </a:solidFill>
                <a:latin typeface="Nunito Sans"/>
                <a:cs typeface="Tahoma"/>
              </a:rPr>
              <a:t>по</a:t>
            </a:r>
            <a:r>
              <a:rPr lang="ru-RU" sz="1200" b="1" spc="-75" dirty="0" smtClean="0">
                <a:solidFill>
                  <a:srgbClr val="1F3863"/>
                </a:solidFill>
                <a:latin typeface="Nunito Sans"/>
                <a:cs typeface="Tahoma"/>
              </a:rPr>
              <a:t> </a:t>
            </a:r>
            <a:r>
              <a:rPr lang="ru-RU" sz="1200" b="1" spc="-53" dirty="0" smtClean="0">
                <a:solidFill>
                  <a:srgbClr val="1F3863"/>
                </a:solidFill>
                <a:latin typeface="Nunito Sans"/>
                <a:cs typeface="Tahoma"/>
              </a:rPr>
              <a:t>статистик</a:t>
            </a:r>
            <a:r>
              <a:rPr lang="ru-RU" sz="1200" b="1" spc="-71" dirty="0" smtClean="0">
                <a:solidFill>
                  <a:srgbClr val="1F3863"/>
                </a:solidFill>
                <a:latin typeface="Nunito Sans"/>
                <a:cs typeface="Tahoma"/>
              </a:rPr>
              <a:t>е</a:t>
            </a:r>
            <a:endParaRPr lang="ru-RU" sz="1200" dirty="0">
              <a:latin typeface="Nunito Sans"/>
              <a:cs typeface="Tahoma"/>
            </a:endParaRPr>
          </a:p>
        </p:txBody>
      </p:sp>
      <p:pic>
        <p:nvPicPr>
          <p:cNvPr id="9" name="object 1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09161" y="1311228"/>
            <a:ext cx="3918004" cy="253745"/>
          </a:xfrm>
          <a:prstGeom prst="rect">
            <a:avLst/>
          </a:prstGeom>
          <a:solidFill>
            <a:srgbClr val="E7F8FF"/>
          </a:solidFill>
        </p:spPr>
      </p:pic>
      <p:sp>
        <p:nvSpPr>
          <p:cNvPr id="10" name="object 11"/>
          <p:cNvSpPr txBox="1"/>
          <p:nvPr/>
        </p:nvSpPr>
        <p:spPr>
          <a:xfrm>
            <a:off x="4925758" y="1334373"/>
            <a:ext cx="3812858" cy="193803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200" b="1" spc="-49" dirty="0">
                <a:solidFill>
                  <a:srgbClr val="1F3863"/>
                </a:solidFill>
                <a:latin typeface="Nunito Sans"/>
                <a:cs typeface="Tahoma"/>
              </a:rPr>
              <a:t>Методология</a:t>
            </a:r>
            <a:r>
              <a:rPr sz="1200" b="1" spc="-53" dirty="0">
                <a:solidFill>
                  <a:srgbClr val="1F3863"/>
                </a:solidFill>
                <a:latin typeface="Nunito Sans"/>
                <a:cs typeface="Tahoma"/>
              </a:rPr>
              <a:t> </a:t>
            </a:r>
            <a:r>
              <a:rPr sz="1200" b="1" spc="-83" dirty="0">
                <a:solidFill>
                  <a:srgbClr val="1F3863"/>
                </a:solidFill>
                <a:latin typeface="Nunito Sans"/>
                <a:cs typeface="Tahoma"/>
              </a:rPr>
              <a:t>и</a:t>
            </a:r>
            <a:r>
              <a:rPr sz="1200" b="1" spc="-75" dirty="0">
                <a:solidFill>
                  <a:srgbClr val="1F3863"/>
                </a:solidFill>
                <a:latin typeface="Nunito Sans"/>
                <a:cs typeface="Tahoma"/>
              </a:rPr>
              <a:t> </a:t>
            </a:r>
            <a:r>
              <a:rPr sz="1200" b="1" spc="-94" dirty="0">
                <a:solidFill>
                  <a:srgbClr val="1F3863"/>
                </a:solidFill>
                <a:latin typeface="Nunito Sans"/>
                <a:cs typeface="Tahoma"/>
              </a:rPr>
              <a:t>анализ</a:t>
            </a:r>
            <a:r>
              <a:rPr sz="1200" b="1" spc="-45" dirty="0">
                <a:solidFill>
                  <a:srgbClr val="1F3863"/>
                </a:solidFill>
                <a:latin typeface="Nunito Sans"/>
                <a:cs typeface="Tahoma"/>
              </a:rPr>
              <a:t> </a:t>
            </a:r>
            <a:r>
              <a:rPr sz="1200" b="1" spc="-64" dirty="0">
                <a:solidFill>
                  <a:srgbClr val="1F3863"/>
                </a:solidFill>
                <a:latin typeface="Nunito Sans"/>
                <a:cs typeface="Tahoma"/>
              </a:rPr>
              <a:t>статистических</a:t>
            </a:r>
            <a:r>
              <a:rPr sz="1200" b="1" spc="-45" dirty="0">
                <a:solidFill>
                  <a:srgbClr val="1F3863"/>
                </a:solidFill>
                <a:latin typeface="Nunito Sans"/>
                <a:cs typeface="Tahoma"/>
              </a:rPr>
              <a:t> </a:t>
            </a:r>
            <a:r>
              <a:rPr sz="1200" b="1" spc="-68" dirty="0">
                <a:solidFill>
                  <a:srgbClr val="1F3863"/>
                </a:solidFill>
                <a:latin typeface="Nunito Sans"/>
                <a:cs typeface="Tahoma"/>
              </a:rPr>
              <a:t>индикаторов</a:t>
            </a:r>
            <a:endParaRPr sz="1200">
              <a:latin typeface="Nunito Sans"/>
              <a:cs typeface="Tahoma"/>
            </a:endParaRPr>
          </a:p>
        </p:txBody>
      </p:sp>
      <p:sp>
        <p:nvSpPr>
          <p:cNvPr id="11" name="object 12"/>
          <p:cNvSpPr txBox="1"/>
          <p:nvPr/>
        </p:nvSpPr>
        <p:spPr>
          <a:xfrm>
            <a:off x="4706492" y="1728145"/>
            <a:ext cx="4230774" cy="44050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24314" marR="3810" indent="-215265">
              <a:spcBef>
                <a:spcPts val="75"/>
              </a:spcBef>
              <a:buFont typeface="Wingdings"/>
              <a:buChar char=""/>
              <a:tabLst>
                <a:tab pos="224790" algn="l"/>
              </a:tabLst>
            </a:pPr>
            <a:r>
              <a:rPr lang="ru-RU" sz="1400" spc="-15" dirty="0" smtClean="0">
                <a:latin typeface="Nunito Sans"/>
                <a:cs typeface="Microsoft Sans Serif"/>
              </a:rPr>
              <a:t>Преподается</a:t>
            </a:r>
            <a:r>
              <a:rPr lang="ru-RU" sz="1400" spc="15" dirty="0" smtClean="0">
                <a:latin typeface="Nunito Sans"/>
                <a:cs typeface="Microsoft Sans Serif"/>
              </a:rPr>
              <a:t> </a:t>
            </a:r>
            <a:r>
              <a:rPr lang="ru-RU" sz="1400" b="1" spc="-11" dirty="0" smtClean="0">
                <a:solidFill>
                  <a:srgbClr val="0070CE"/>
                </a:solidFill>
                <a:latin typeface="Nunito Sans"/>
                <a:cs typeface="Arial"/>
              </a:rPr>
              <a:t>сотрудниками</a:t>
            </a:r>
            <a:r>
              <a:rPr lang="ru-RU" sz="1400" b="1" spc="26" dirty="0" smtClean="0">
                <a:solidFill>
                  <a:srgbClr val="0070CE"/>
                </a:solidFill>
                <a:latin typeface="Nunito Sans"/>
                <a:cs typeface="Arial"/>
              </a:rPr>
              <a:t> </a:t>
            </a:r>
            <a:r>
              <a:rPr lang="ru-RU" sz="1400" b="1" dirty="0" smtClean="0">
                <a:solidFill>
                  <a:srgbClr val="0070CE"/>
                </a:solidFill>
                <a:latin typeface="Nunito Sans"/>
                <a:cs typeface="Arial"/>
              </a:rPr>
              <a:t>Бюро</a:t>
            </a:r>
            <a:r>
              <a:rPr lang="ru-RU" sz="1400" dirty="0" smtClean="0">
                <a:solidFill>
                  <a:srgbClr val="0070CE"/>
                </a:solidFill>
                <a:latin typeface="Nunito Sans"/>
                <a:cs typeface="Microsoft Sans Serif"/>
              </a:rPr>
              <a:t>,</a:t>
            </a:r>
            <a:r>
              <a:rPr lang="ru-RU" sz="1400" spc="8" dirty="0" smtClean="0">
                <a:solidFill>
                  <a:srgbClr val="0070CE"/>
                </a:solidFill>
                <a:latin typeface="Nunito Sans"/>
                <a:cs typeface="Microsoft Sans Serif"/>
              </a:rPr>
              <a:t> </a:t>
            </a:r>
            <a:r>
              <a:rPr lang="ru-RU" sz="1400" spc="-19" dirty="0" smtClean="0">
                <a:latin typeface="Nunito Sans"/>
                <a:cs typeface="Microsoft Sans Serif"/>
              </a:rPr>
              <a:t>которые </a:t>
            </a:r>
            <a:r>
              <a:rPr lang="ru-RU" sz="1400" spc="-349" dirty="0" smtClean="0">
                <a:latin typeface="Nunito Sans"/>
                <a:cs typeface="Microsoft Sans Serif"/>
              </a:rPr>
              <a:t> </a:t>
            </a:r>
            <a:r>
              <a:rPr lang="ru-RU" sz="1400" spc="-15" dirty="0" smtClean="0">
                <a:latin typeface="Nunito Sans"/>
                <a:cs typeface="Microsoft Sans Serif"/>
              </a:rPr>
              <a:t>формируют</a:t>
            </a:r>
            <a:r>
              <a:rPr lang="ru-RU" sz="1400" spc="30" dirty="0" smtClean="0">
                <a:latin typeface="Nunito Sans"/>
                <a:cs typeface="Microsoft Sans Serif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официальную</a:t>
            </a:r>
            <a:r>
              <a:rPr lang="ru-RU" sz="1400" spc="19" dirty="0" smtClean="0">
                <a:latin typeface="Nunito Sans"/>
                <a:cs typeface="Microsoft Sans Serif"/>
              </a:rPr>
              <a:t> </a:t>
            </a:r>
            <a:r>
              <a:rPr lang="ru-RU" sz="1400" spc="-15" dirty="0" smtClean="0">
                <a:latin typeface="Nunito Sans"/>
                <a:cs typeface="Microsoft Sans Serif"/>
              </a:rPr>
              <a:t>статистику</a:t>
            </a:r>
            <a:endParaRPr lang="ru-RU" sz="1400" dirty="0">
              <a:latin typeface="Nunito Sans"/>
              <a:cs typeface="Microsoft Sans Serif"/>
            </a:endParaRPr>
          </a:p>
        </p:txBody>
      </p:sp>
      <p:sp>
        <p:nvSpPr>
          <p:cNvPr id="12" name="object 13"/>
          <p:cNvSpPr txBox="1"/>
          <p:nvPr/>
        </p:nvSpPr>
        <p:spPr>
          <a:xfrm>
            <a:off x="4706492" y="2317921"/>
            <a:ext cx="4191018" cy="44050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24314" indent="-215265">
              <a:spcBef>
                <a:spcPts val="75"/>
              </a:spcBef>
              <a:buFont typeface="Wingdings"/>
              <a:buChar char=""/>
              <a:tabLst>
                <a:tab pos="224790" algn="l"/>
              </a:tabLst>
            </a:pPr>
            <a:r>
              <a:rPr lang="ru-RU" sz="1400" spc="-23" dirty="0" smtClean="0">
                <a:latin typeface="Nunito Sans"/>
                <a:cs typeface="Microsoft Sans Serif"/>
              </a:rPr>
              <a:t>Базируется</a:t>
            </a:r>
            <a:r>
              <a:rPr lang="ru-RU" sz="1400" spc="45" dirty="0" smtClean="0">
                <a:latin typeface="Nunito Sans"/>
                <a:cs typeface="Microsoft Sans Serif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на</a:t>
            </a:r>
            <a:r>
              <a:rPr lang="ru-RU" sz="1400" spc="19" dirty="0" smtClean="0">
                <a:latin typeface="Nunito Sans"/>
                <a:cs typeface="Microsoft Sans Serif"/>
              </a:rPr>
              <a:t> </a:t>
            </a:r>
            <a:r>
              <a:rPr lang="ru-RU" sz="1400" b="1" spc="-4" dirty="0" smtClean="0">
                <a:solidFill>
                  <a:srgbClr val="0070CE"/>
                </a:solidFill>
                <a:latin typeface="Nunito Sans"/>
                <a:cs typeface="Arial"/>
              </a:rPr>
              <a:t>реальных</a:t>
            </a:r>
            <a:r>
              <a:rPr lang="ru-RU" sz="1400" b="1" spc="4" dirty="0" smtClean="0">
                <a:solidFill>
                  <a:srgbClr val="0070CE"/>
                </a:solidFill>
                <a:latin typeface="Nunito Sans"/>
                <a:cs typeface="Arial"/>
              </a:rPr>
              <a:t> </a:t>
            </a:r>
            <a:r>
              <a:rPr lang="ru-RU" sz="1400" b="1" spc="-4" dirty="0" smtClean="0">
                <a:solidFill>
                  <a:srgbClr val="0070CE"/>
                </a:solidFill>
                <a:latin typeface="Nunito Sans"/>
                <a:cs typeface="Arial"/>
              </a:rPr>
              <a:t>кейсах</a:t>
            </a:r>
            <a:r>
              <a:rPr lang="ru-RU" sz="1400" b="1" spc="19" dirty="0" smtClean="0">
                <a:solidFill>
                  <a:srgbClr val="0070CE"/>
                </a:solidFill>
                <a:latin typeface="Nunito Sans"/>
                <a:cs typeface="Arial"/>
              </a:rPr>
              <a:t> </a:t>
            </a:r>
            <a:r>
              <a:rPr lang="ru-RU" sz="1400" spc="-11" dirty="0" smtClean="0">
                <a:latin typeface="Nunito Sans"/>
                <a:cs typeface="Microsoft Sans Serif"/>
              </a:rPr>
              <a:t>формирования </a:t>
            </a:r>
            <a:r>
              <a:rPr lang="ru-RU" sz="1400" spc="-4" dirty="0" smtClean="0">
                <a:latin typeface="Nunito Sans"/>
                <a:cs typeface="Microsoft Sans Serif"/>
              </a:rPr>
              <a:t>и </a:t>
            </a:r>
            <a:r>
              <a:rPr lang="ru-RU" sz="1400" spc="-11" dirty="0" smtClean="0">
                <a:latin typeface="Nunito Sans"/>
                <a:cs typeface="Microsoft Sans Serif"/>
              </a:rPr>
              <a:t>применения</a:t>
            </a:r>
            <a:r>
              <a:rPr lang="ru-RU" sz="1400" spc="11" dirty="0" smtClean="0">
                <a:latin typeface="Nunito Sans"/>
                <a:cs typeface="Microsoft Sans Serif"/>
              </a:rPr>
              <a:t> </a:t>
            </a:r>
            <a:r>
              <a:rPr lang="ru-RU" sz="1400" spc="-15" dirty="0" smtClean="0">
                <a:latin typeface="Nunito Sans"/>
                <a:cs typeface="Microsoft Sans Serif"/>
              </a:rPr>
              <a:t>статистики</a:t>
            </a:r>
            <a:endParaRPr sz="1400">
              <a:latin typeface="Nunito Sans"/>
              <a:cs typeface="Microsoft Sans Serif"/>
            </a:endParaRPr>
          </a:p>
        </p:txBody>
      </p:sp>
      <p:sp>
        <p:nvSpPr>
          <p:cNvPr id="13" name="object 14"/>
          <p:cNvSpPr txBox="1"/>
          <p:nvPr/>
        </p:nvSpPr>
        <p:spPr>
          <a:xfrm>
            <a:off x="4706493" y="2933850"/>
            <a:ext cx="4214870" cy="65594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24314" marR="3810" indent="-215265">
              <a:spcBef>
                <a:spcPts val="75"/>
              </a:spcBef>
              <a:buFont typeface="Wingdings"/>
              <a:buChar char=""/>
              <a:tabLst>
                <a:tab pos="224790" algn="l"/>
              </a:tabLst>
            </a:pPr>
            <a:r>
              <a:rPr lang="ru-RU" sz="1400" spc="-23" dirty="0" smtClean="0">
                <a:latin typeface="Nunito Sans"/>
                <a:cs typeface="Microsoft Sans Serif"/>
              </a:rPr>
              <a:t>Разъясняет</a:t>
            </a:r>
            <a:r>
              <a:rPr lang="ru-RU" sz="1400" spc="19" dirty="0" smtClean="0">
                <a:latin typeface="Nunito Sans"/>
                <a:cs typeface="Microsoft Sans Serif"/>
              </a:rPr>
              <a:t> </a:t>
            </a:r>
            <a:r>
              <a:rPr lang="ru-RU" sz="1400" b="1" spc="-11" dirty="0" smtClean="0">
                <a:solidFill>
                  <a:srgbClr val="0070CE"/>
                </a:solidFill>
                <a:latin typeface="Nunito Sans"/>
                <a:cs typeface="Arial"/>
              </a:rPr>
              <a:t>источники</a:t>
            </a:r>
            <a:r>
              <a:rPr lang="ru-RU" sz="1400" b="1" spc="41" dirty="0" smtClean="0">
                <a:solidFill>
                  <a:srgbClr val="20A0DC"/>
                </a:solidFill>
                <a:latin typeface="Nunito Sans"/>
                <a:cs typeface="Arial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и</a:t>
            </a:r>
            <a:r>
              <a:rPr lang="ru-RU" sz="1400" spc="8" dirty="0" smtClean="0">
                <a:latin typeface="Nunito Sans"/>
                <a:cs typeface="Microsoft Sans Serif"/>
              </a:rPr>
              <a:t> </a:t>
            </a:r>
            <a:r>
              <a:rPr lang="ru-RU" sz="1400" b="1" dirty="0" smtClean="0">
                <a:solidFill>
                  <a:srgbClr val="0070CE"/>
                </a:solidFill>
                <a:latin typeface="Nunito Sans"/>
                <a:cs typeface="Arial"/>
              </a:rPr>
              <a:t>ограничения</a:t>
            </a:r>
            <a:r>
              <a:rPr lang="ru-RU" sz="1400" b="1" dirty="0" smtClean="0">
                <a:solidFill>
                  <a:srgbClr val="20A0DC"/>
                </a:solidFill>
                <a:latin typeface="Nunito Sans"/>
                <a:cs typeface="Arial"/>
              </a:rPr>
              <a:t> </a:t>
            </a:r>
            <a:r>
              <a:rPr lang="ru-RU" sz="1400" b="1" spc="4" dirty="0" smtClean="0">
                <a:solidFill>
                  <a:srgbClr val="20A0DC"/>
                </a:solidFill>
                <a:latin typeface="Nunito Sans"/>
                <a:cs typeface="Arial"/>
              </a:rPr>
              <a:t> </a:t>
            </a:r>
            <a:r>
              <a:rPr lang="ru-RU" sz="1400" spc="-11" dirty="0" smtClean="0">
                <a:latin typeface="Nunito Sans"/>
                <a:cs typeface="Microsoft Sans Serif"/>
              </a:rPr>
              <a:t>статистических</a:t>
            </a:r>
            <a:r>
              <a:rPr lang="ru-RU" sz="1400" spc="-19" dirty="0" smtClean="0">
                <a:latin typeface="Nunito Sans"/>
                <a:cs typeface="Microsoft Sans Serif"/>
              </a:rPr>
              <a:t> </a:t>
            </a:r>
            <a:r>
              <a:rPr lang="ru-RU" sz="1400" spc="-11" dirty="0" smtClean="0">
                <a:latin typeface="Nunito Sans"/>
                <a:cs typeface="Microsoft Sans Serif"/>
              </a:rPr>
              <a:t>индикаторов,</a:t>
            </a:r>
            <a:r>
              <a:rPr lang="ru-RU" sz="1400" spc="-4" dirty="0" smtClean="0">
                <a:latin typeface="Nunito Sans"/>
                <a:cs typeface="Microsoft Sans Serif"/>
              </a:rPr>
              <a:t> </a:t>
            </a:r>
            <a:r>
              <a:rPr lang="ru-RU" sz="1400" dirty="0" smtClean="0">
                <a:latin typeface="Nunito Sans"/>
                <a:cs typeface="Microsoft Sans Serif"/>
              </a:rPr>
              <a:t>их </a:t>
            </a:r>
            <a:r>
              <a:rPr lang="ru-RU" sz="1400" b="1" spc="-8" dirty="0" smtClean="0">
                <a:solidFill>
                  <a:srgbClr val="0070CE"/>
                </a:solidFill>
                <a:latin typeface="Nunito Sans"/>
                <a:cs typeface="Arial"/>
              </a:rPr>
              <a:t>корректную </a:t>
            </a:r>
            <a:r>
              <a:rPr lang="ru-RU" sz="1400" b="1" spc="-363" dirty="0" smtClean="0">
                <a:solidFill>
                  <a:srgbClr val="0070CE"/>
                </a:solidFill>
                <a:latin typeface="Nunito Sans"/>
                <a:cs typeface="Arial"/>
              </a:rPr>
              <a:t> </a:t>
            </a:r>
            <a:r>
              <a:rPr lang="ru-RU" sz="1400" b="1" spc="-8" dirty="0" smtClean="0">
                <a:solidFill>
                  <a:srgbClr val="0070CE"/>
                </a:solidFill>
                <a:latin typeface="Nunito Sans"/>
                <a:cs typeface="Arial"/>
              </a:rPr>
              <a:t>интерпретацию</a:t>
            </a:r>
            <a:endParaRPr lang="ru-RU" sz="1400" dirty="0">
              <a:solidFill>
                <a:srgbClr val="0070CE"/>
              </a:solidFill>
              <a:latin typeface="Nunito Sans"/>
              <a:cs typeface="Arial"/>
            </a:endParaRPr>
          </a:p>
        </p:txBody>
      </p:sp>
      <p:sp>
        <p:nvSpPr>
          <p:cNvPr id="14" name="object 15"/>
          <p:cNvSpPr txBox="1"/>
          <p:nvPr/>
        </p:nvSpPr>
        <p:spPr>
          <a:xfrm>
            <a:off x="4730346" y="3703195"/>
            <a:ext cx="4217670" cy="44050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24314" marR="3810" indent="-215265">
              <a:spcBef>
                <a:spcPts val="75"/>
              </a:spcBef>
              <a:buFont typeface="Wingdings"/>
              <a:buChar char=""/>
              <a:tabLst>
                <a:tab pos="224790" algn="l"/>
              </a:tabLst>
            </a:pPr>
            <a:r>
              <a:rPr lang="ru-RU" sz="1400" spc="-34" dirty="0" smtClean="0">
                <a:latin typeface="Nunito Sans"/>
                <a:cs typeface="Microsoft Sans Serif"/>
              </a:rPr>
              <a:t>Фокусируется</a:t>
            </a:r>
            <a:r>
              <a:rPr lang="ru-RU" sz="1400" spc="45" dirty="0" smtClean="0">
                <a:latin typeface="Nunito Sans"/>
                <a:cs typeface="Microsoft Sans Serif"/>
              </a:rPr>
              <a:t> </a:t>
            </a:r>
            <a:r>
              <a:rPr lang="ru-RU" sz="1400" spc="-8" dirty="0" smtClean="0">
                <a:latin typeface="Nunito Sans"/>
                <a:cs typeface="Microsoft Sans Serif"/>
              </a:rPr>
              <a:t>на</a:t>
            </a:r>
            <a:r>
              <a:rPr lang="ru-RU" sz="1400" spc="23" dirty="0" smtClean="0">
                <a:latin typeface="Nunito Sans"/>
                <a:cs typeface="Microsoft Sans Serif"/>
              </a:rPr>
              <a:t> </a:t>
            </a:r>
            <a:r>
              <a:rPr lang="ru-RU" sz="1400" spc="-11" dirty="0" smtClean="0">
                <a:latin typeface="Nunito Sans"/>
                <a:cs typeface="Microsoft Sans Serif"/>
              </a:rPr>
              <a:t>навыках</a:t>
            </a:r>
            <a:r>
              <a:rPr lang="ru-RU" sz="1400" spc="34" dirty="0" smtClean="0">
                <a:latin typeface="Nunito Sans"/>
                <a:cs typeface="Microsoft Sans Serif"/>
              </a:rPr>
              <a:t> </a:t>
            </a:r>
            <a:r>
              <a:rPr lang="ru-RU" sz="1400" b="1" dirty="0" smtClean="0">
                <a:solidFill>
                  <a:srgbClr val="0070CE"/>
                </a:solidFill>
                <a:latin typeface="Nunito Sans"/>
                <a:cs typeface="Arial"/>
              </a:rPr>
              <a:t>применения</a:t>
            </a:r>
            <a:r>
              <a:rPr lang="ru-RU" sz="1400" b="1" spc="-8" dirty="0" smtClean="0">
                <a:solidFill>
                  <a:srgbClr val="20A0DC"/>
                </a:solidFill>
                <a:latin typeface="Nunito Sans"/>
                <a:cs typeface="Arial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и</a:t>
            </a:r>
            <a:r>
              <a:rPr lang="ru-RU" sz="1400" spc="11" dirty="0" smtClean="0">
                <a:latin typeface="Nunito Sans"/>
                <a:cs typeface="Microsoft Sans Serif"/>
              </a:rPr>
              <a:t> </a:t>
            </a:r>
            <a:r>
              <a:rPr lang="ru-RU" sz="1400" b="1" spc="-15" dirty="0" smtClean="0">
                <a:solidFill>
                  <a:srgbClr val="0070CE"/>
                </a:solidFill>
                <a:latin typeface="Nunito Sans"/>
                <a:cs typeface="Arial"/>
              </a:rPr>
              <a:t>расчета </a:t>
            </a:r>
            <a:r>
              <a:rPr lang="ru-RU" sz="1400" b="1" spc="-363" dirty="0" smtClean="0">
                <a:solidFill>
                  <a:srgbClr val="0070CE"/>
                </a:solidFill>
                <a:latin typeface="Nunito Sans"/>
                <a:cs typeface="Arial"/>
              </a:rPr>
              <a:t> </a:t>
            </a:r>
            <a:r>
              <a:rPr lang="ru-RU" sz="1400" b="1" spc="-4" dirty="0" smtClean="0">
                <a:solidFill>
                  <a:srgbClr val="0070CE"/>
                </a:solidFill>
                <a:latin typeface="Nunito Sans"/>
                <a:cs typeface="Arial"/>
              </a:rPr>
              <a:t>производных </a:t>
            </a:r>
            <a:r>
              <a:rPr lang="ru-RU" sz="1400" b="1" spc="-8" dirty="0" smtClean="0">
                <a:solidFill>
                  <a:srgbClr val="0070CE"/>
                </a:solidFill>
                <a:latin typeface="Nunito Sans"/>
                <a:cs typeface="Arial"/>
              </a:rPr>
              <a:t>показателей</a:t>
            </a:r>
            <a:endParaRPr lang="ru-RU" sz="1400" dirty="0">
              <a:solidFill>
                <a:srgbClr val="0070CE"/>
              </a:solidFill>
              <a:latin typeface="Nunito Sans"/>
              <a:cs typeface="Arial"/>
            </a:endParaRPr>
          </a:p>
        </p:txBody>
      </p:sp>
      <p:sp>
        <p:nvSpPr>
          <p:cNvPr id="15" name="object 16"/>
          <p:cNvSpPr/>
          <p:nvPr/>
        </p:nvSpPr>
        <p:spPr>
          <a:xfrm>
            <a:off x="4591431" y="1311227"/>
            <a:ext cx="0" cy="3024188"/>
          </a:xfrm>
          <a:custGeom>
            <a:avLst/>
            <a:gdLst/>
            <a:ahLst/>
            <a:cxnLst/>
            <a:rect l="l" t="t" r="r" b="b"/>
            <a:pathLst>
              <a:path h="4032250">
                <a:moveTo>
                  <a:pt x="0" y="0"/>
                </a:moveTo>
                <a:lnTo>
                  <a:pt x="0" y="4031996"/>
                </a:lnTo>
              </a:path>
            </a:pathLst>
          </a:custGeom>
          <a:ln w="6350">
            <a:solidFill>
              <a:srgbClr val="A6A6A6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latin typeface="Nunito Sans"/>
            </a:endParaRPr>
          </a:p>
        </p:txBody>
      </p:sp>
      <p:cxnSp>
        <p:nvCxnSpPr>
          <p:cNvPr id="17" name="Straight Connector 318">
            <a:extLst>
              <a:ext uri="{FF2B5EF4-FFF2-40B4-BE49-F238E27FC236}">
                <a16:creationId xmlns="" xmlns:a16="http://schemas.microsoft.com/office/drawing/2014/main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61575" y="598733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19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92983" y="95065"/>
            <a:ext cx="414000" cy="413438"/>
          </a:xfrm>
          <a:prstGeom prst="roundRect">
            <a:avLst/>
          </a:prstGeom>
          <a:solidFill>
            <a:srgbClr val="0070CE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ru-RU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1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4607" y="717772"/>
            <a:ext cx="8627000" cy="320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marR="3810">
              <a:lnSpc>
                <a:spcPct val="116199"/>
              </a:lnSpc>
              <a:spcBef>
                <a:spcPts val="150"/>
              </a:spcBef>
            </a:pPr>
            <a:r>
              <a:rPr lang="ru-RU" sz="1400" b="1" spc="-15" dirty="0" smtClean="0">
                <a:solidFill>
                  <a:srgbClr val="2E5496"/>
                </a:solidFill>
                <a:latin typeface="Nunito Sans"/>
                <a:cs typeface="Arial"/>
              </a:rPr>
              <a:t>ОБУЧИТЬ</a:t>
            </a:r>
            <a:r>
              <a:rPr lang="ru-RU" sz="1400" b="1" spc="94" dirty="0" smtClean="0">
                <a:solidFill>
                  <a:srgbClr val="2E5496"/>
                </a:solidFill>
                <a:latin typeface="Nunito Sans"/>
                <a:cs typeface="Arial"/>
              </a:rPr>
              <a:t> </a:t>
            </a:r>
            <a:r>
              <a:rPr lang="ru-RU" sz="1400" b="1" spc="-8" dirty="0" smtClean="0">
                <a:solidFill>
                  <a:srgbClr val="92D050"/>
                </a:solidFill>
                <a:latin typeface="Nunito Sans"/>
                <a:cs typeface="Arial"/>
              </a:rPr>
              <a:t>КОРРЕКТНО</a:t>
            </a:r>
            <a:r>
              <a:rPr lang="ru-RU" sz="1400" b="1" spc="98" dirty="0" smtClean="0">
                <a:solidFill>
                  <a:srgbClr val="92D050"/>
                </a:solidFill>
                <a:latin typeface="Nunito Sans"/>
                <a:cs typeface="Arial"/>
              </a:rPr>
              <a:t> </a:t>
            </a:r>
            <a:r>
              <a:rPr lang="ru-RU" sz="1400" b="1" spc="-19" dirty="0" smtClean="0">
                <a:solidFill>
                  <a:srgbClr val="92D050"/>
                </a:solidFill>
                <a:latin typeface="Nunito Sans"/>
                <a:cs typeface="Arial"/>
              </a:rPr>
              <a:t>ИНТЕРПРЕТИРОВАТЬ</a:t>
            </a:r>
            <a:r>
              <a:rPr lang="ru-RU" sz="1400" b="1" spc="124" dirty="0" smtClean="0">
                <a:solidFill>
                  <a:srgbClr val="92D050"/>
                </a:solidFill>
                <a:latin typeface="Nunito Sans"/>
                <a:cs typeface="Arial"/>
              </a:rPr>
              <a:t> </a:t>
            </a:r>
            <a:r>
              <a:rPr lang="ru-RU" sz="1400" b="1" spc="-8" dirty="0" smtClean="0">
                <a:solidFill>
                  <a:srgbClr val="2E5496"/>
                </a:solidFill>
                <a:latin typeface="Nunito Sans"/>
                <a:cs typeface="Arial"/>
              </a:rPr>
              <a:t>И</a:t>
            </a:r>
            <a:r>
              <a:rPr lang="ru-RU" sz="1400" b="1" spc="75" dirty="0" smtClean="0">
                <a:solidFill>
                  <a:srgbClr val="2E5496"/>
                </a:solidFill>
                <a:latin typeface="Nunito Sans"/>
                <a:cs typeface="Arial"/>
              </a:rPr>
              <a:t> </a:t>
            </a:r>
            <a:r>
              <a:rPr lang="ru-RU" sz="1400" b="1" spc="-8" dirty="0" smtClean="0">
                <a:solidFill>
                  <a:srgbClr val="92D050"/>
                </a:solidFill>
                <a:latin typeface="Nunito Sans"/>
                <a:cs typeface="Arial"/>
              </a:rPr>
              <a:t>ПРИМЕНЯТЬ</a:t>
            </a:r>
            <a:r>
              <a:rPr lang="ru-RU" sz="1400" b="1" spc="94" dirty="0" smtClean="0">
                <a:solidFill>
                  <a:srgbClr val="92D050"/>
                </a:solidFill>
                <a:latin typeface="Nunito Sans"/>
                <a:cs typeface="Arial"/>
              </a:rPr>
              <a:t> </a:t>
            </a:r>
            <a:r>
              <a:rPr lang="ru-RU" sz="1400" b="1" spc="-23" dirty="0" smtClean="0">
                <a:solidFill>
                  <a:srgbClr val="2E5496"/>
                </a:solidFill>
                <a:latin typeface="Nunito Sans"/>
                <a:cs typeface="Arial"/>
              </a:rPr>
              <a:t>СТАТИСТИЧЕСКИЕ</a:t>
            </a:r>
            <a:r>
              <a:rPr lang="ru-RU" sz="1400" b="1" spc="116" dirty="0" smtClean="0">
                <a:solidFill>
                  <a:srgbClr val="2E5496"/>
                </a:solidFill>
                <a:latin typeface="Nunito Sans"/>
                <a:cs typeface="Arial"/>
              </a:rPr>
              <a:t> </a:t>
            </a:r>
            <a:r>
              <a:rPr lang="ru-RU" sz="1400" b="1" spc="-15" dirty="0" smtClean="0">
                <a:solidFill>
                  <a:srgbClr val="2E5496"/>
                </a:solidFill>
                <a:latin typeface="Nunito Sans"/>
                <a:cs typeface="Arial"/>
              </a:rPr>
              <a:t>ПОКАЗАТЕЛИ</a:t>
            </a:r>
            <a:endParaRPr lang="ru-RU" sz="1400" dirty="0">
              <a:latin typeface="Nunito Sans"/>
              <a:cs typeface="Arial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54646" y="2285173"/>
            <a:ext cx="431612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4314" indent="-215265">
              <a:spcBef>
                <a:spcPts val="75"/>
              </a:spcBef>
              <a:buFont typeface="Wingdings"/>
              <a:buChar char=""/>
              <a:tabLst>
                <a:tab pos="224790" algn="l"/>
              </a:tabLst>
            </a:pPr>
            <a:r>
              <a:rPr lang="ru-RU" sz="1400" spc="-23" dirty="0" smtClean="0">
                <a:latin typeface="Nunito Sans"/>
                <a:cs typeface="Microsoft Sans Serif"/>
              </a:rPr>
              <a:t>Базируется</a:t>
            </a:r>
            <a:r>
              <a:rPr lang="ru-RU" sz="1400" spc="41" dirty="0" smtClean="0">
                <a:latin typeface="Nunito Sans"/>
                <a:cs typeface="Microsoft Sans Serif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на</a:t>
            </a:r>
            <a:r>
              <a:rPr lang="ru-RU" sz="1400" spc="11" dirty="0" smtClean="0">
                <a:latin typeface="Nunito Sans"/>
                <a:cs typeface="Microsoft Sans Serif"/>
              </a:rPr>
              <a:t> </a:t>
            </a:r>
            <a:r>
              <a:rPr lang="ru-RU" sz="1400" b="1" spc="-8" dirty="0" smtClean="0">
                <a:latin typeface="Nunito Sans"/>
                <a:cs typeface="Arial"/>
              </a:rPr>
              <a:t>теории</a:t>
            </a:r>
            <a:r>
              <a:rPr lang="ru-RU" sz="1400" b="1" spc="23" dirty="0" smtClean="0">
                <a:latin typeface="Nunito Sans"/>
                <a:cs typeface="Arial"/>
              </a:rPr>
              <a:t> </a:t>
            </a:r>
            <a:r>
              <a:rPr lang="ru-RU" sz="1400" dirty="0" smtClean="0">
                <a:latin typeface="Nunito Sans"/>
                <a:cs typeface="Microsoft Sans Serif"/>
              </a:rPr>
              <a:t>и</a:t>
            </a:r>
            <a:r>
              <a:rPr lang="ru-RU" sz="1400" spc="8" dirty="0" smtClean="0">
                <a:latin typeface="Nunito Sans"/>
                <a:cs typeface="Microsoft Sans Serif"/>
              </a:rPr>
              <a:t> </a:t>
            </a:r>
            <a:r>
              <a:rPr lang="ru-RU" sz="1400" b="1" spc="-8" dirty="0" smtClean="0">
                <a:latin typeface="Nunito Sans"/>
                <a:cs typeface="Arial"/>
              </a:rPr>
              <a:t>концептах</a:t>
            </a:r>
            <a:r>
              <a:rPr lang="ru-RU" sz="1400" b="1" spc="19" dirty="0" smtClean="0">
                <a:latin typeface="Nunito Sans"/>
                <a:cs typeface="Arial"/>
              </a:rPr>
              <a:t> </a:t>
            </a:r>
            <a:r>
              <a:rPr lang="ru-RU" sz="1400" b="1" spc="-4" dirty="0" smtClean="0">
                <a:latin typeface="Nunito Sans"/>
                <a:cs typeface="Arial"/>
              </a:rPr>
              <a:t>статистики</a:t>
            </a:r>
            <a:endParaRPr lang="ru-RU" sz="1400" dirty="0">
              <a:latin typeface="Nunito Sans"/>
              <a:cs typeface="Arial"/>
            </a:endParaRPr>
          </a:p>
        </p:txBody>
      </p:sp>
      <p:sp>
        <p:nvSpPr>
          <p:cNvPr id="22" name="object 21"/>
          <p:cNvSpPr txBox="1"/>
          <p:nvPr/>
        </p:nvSpPr>
        <p:spPr>
          <a:xfrm>
            <a:off x="708506" y="4610772"/>
            <a:ext cx="8274368" cy="37895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ru-RU" sz="1200" dirty="0" smtClean="0">
                <a:latin typeface="+mn-lt"/>
                <a:cs typeface="Arial"/>
              </a:rPr>
              <a:t>Программы ВУЗов в основном сфокусированы на теории и концептах статистики как части науки, при этом производство </a:t>
            </a:r>
            <a:r>
              <a:rPr lang="ru-RU" sz="1200" b="1" spc="-19" dirty="0" smtClean="0">
                <a:solidFill>
                  <a:schemeClr val="accent3">
                    <a:lumMod val="75000"/>
                  </a:schemeClr>
                </a:solidFill>
                <a:latin typeface="+mn-lt"/>
                <a:cs typeface="Microsoft Sans Serif"/>
              </a:rPr>
              <a:t>и применение на практике </a:t>
            </a:r>
            <a:r>
              <a:rPr lang="ru-RU" sz="1200" dirty="0" smtClean="0">
                <a:latin typeface="+mn-lt"/>
                <a:cs typeface="Arial"/>
              </a:rPr>
              <a:t>официальной статистики недостаточно раскрывается</a:t>
            </a:r>
          </a:p>
        </p:txBody>
      </p:sp>
      <p:grpSp>
        <p:nvGrpSpPr>
          <p:cNvPr id="2" name="Group 5">
            <a:extLst>
              <a:ext uri="{FF2B5EF4-FFF2-40B4-BE49-F238E27FC236}">
                <a16:creationId xmlns:a16="http://schemas.microsoft.com/office/drawing/2014/main" xmlns="" id="{D6DDFBF1-308D-98D4-25E4-D94A83746B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1698" y="4675754"/>
            <a:ext cx="307409" cy="271395"/>
            <a:chOff x="206" y="2776"/>
            <a:chExt cx="239" cy="211"/>
          </a:xfrm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xmlns="" id="{4722751E-E17B-FB0C-E5F5-DEC4D72F6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" y="2847"/>
              <a:ext cx="29" cy="96"/>
            </a:xfrm>
            <a:custGeom>
              <a:avLst/>
              <a:gdLst>
                <a:gd name="T0" fmla="*/ 12 w 24"/>
                <a:gd name="T1" fmla="*/ 79 h 79"/>
                <a:gd name="T2" fmla="*/ 12 w 24"/>
                <a:gd name="T3" fmla="*/ 79 h 79"/>
                <a:gd name="T4" fmla="*/ 4 w 24"/>
                <a:gd name="T5" fmla="*/ 71 h 79"/>
                <a:gd name="T6" fmla="*/ 0 w 24"/>
                <a:gd name="T7" fmla="*/ 12 h 79"/>
                <a:gd name="T8" fmla="*/ 12 w 24"/>
                <a:gd name="T9" fmla="*/ 0 h 79"/>
                <a:gd name="T10" fmla="*/ 12 w 24"/>
                <a:gd name="T11" fmla="*/ 0 h 79"/>
                <a:gd name="T12" fmla="*/ 24 w 24"/>
                <a:gd name="T13" fmla="*/ 12 h 79"/>
                <a:gd name="T14" fmla="*/ 20 w 24"/>
                <a:gd name="T15" fmla="*/ 71 h 79"/>
                <a:gd name="T16" fmla="*/ 12 w 24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79">
                  <a:moveTo>
                    <a:pt x="12" y="79"/>
                  </a:moveTo>
                  <a:cubicBezTo>
                    <a:pt x="12" y="79"/>
                    <a:pt x="12" y="79"/>
                    <a:pt x="12" y="79"/>
                  </a:cubicBezTo>
                  <a:cubicBezTo>
                    <a:pt x="7" y="79"/>
                    <a:pt x="4" y="75"/>
                    <a:pt x="4" y="7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8"/>
                    <a:pt x="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2" y="0"/>
                    <a:pt x="24" y="8"/>
                    <a:pt x="24" y="12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5"/>
                    <a:pt x="17" y="79"/>
                    <a:pt x="12" y="79"/>
                  </a:cubicBez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  <p:sp>
          <p:nvSpPr>
            <p:cNvPr id="25" name="Oval 7">
              <a:extLst>
                <a:ext uri="{FF2B5EF4-FFF2-40B4-BE49-F238E27FC236}">
                  <a16:creationId xmlns:a16="http://schemas.microsoft.com/office/drawing/2014/main" xmlns="" id="{9DF44B9B-9D40-5D8E-A9F5-2EB156F68C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" y="2965"/>
              <a:ext cx="22" cy="22"/>
            </a:xfrm>
            <a:prstGeom prst="ellips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xmlns="" id="{3D506C76-C1A1-CCF5-D854-C6156C530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" y="2776"/>
              <a:ext cx="239" cy="200"/>
            </a:xfrm>
            <a:custGeom>
              <a:avLst/>
              <a:gdLst>
                <a:gd name="T0" fmla="*/ 126 w 196"/>
                <a:gd name="T1" fmla="*/ 164 h 164"/>
                <a:gd name="T2" fmla="*/ 180 w 196"/>
                <a:gd name="T3" fmla="*/ 164 h 164"/>
                <a:gd name="T4" fmla="*/ 191 w 196"/>
                <a:gd name="T5" fmla="*/ 144 h 164"/>
                <a:gd name="T6" fmla="*/ 110 w 196"/>
                <a:gd name="T7" fmla="*/ 9 h 164"/>
                <a:gd name="T8" fmla="*/ 86 w 196"/>
                <a:gd name="T9" fmla="*/ 9 h 164"/>
                <a:gd name="T10" fmla="*/ 5 w 196"/>
                <a:gd name="T11" fmla="*/ 144 h 164"/>
                <a:gd name="T12" fmla="*/ 16 w 196"/>
                <a:gd name="T13" fmla="*/ 164 h 164"/>
                <a:gd name="T14" fmla="*/ 70 w 196"/>
                <a:gd name="T1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" h="164">
                  <a:moveTo>
                    <a:pt x="126" y="164"/>
                  </a:moveTo>
                  <a:cubicBezTo>
                    <a:pt x="180" y="164"/>
                    <a:pt x="180" y="164"/>
                    <a:pt x="180" y="164"/>
                  </a:cubicBezTo>
                  <a:cubicBezTo>
                    <a:pt x="190" y="164"/>
                    <a:pt x="196" y="153"/>
                    <a:pt x="191" y="144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04" y="0"/>
                    <a:pt x="92" y="0"/>
                    <a:pt x="86" y="9"/>
                  </a:cubicBezTo>
                  <a:cubicBezTo>
                    <a:pt x="5" y="144"/>
                    <a:pt x="5" y="144"/>
                    <a:pt x="5" y="144"/>
                  </a:cubicBezTo>
                  <a:cubicBezTo>
                    <a:pt x="0" y="153"/>
                    <a:pt x="6" y="164"/>
                    <a:pt x="16" y="164"/>
                  </a:cubicBezTo>
                  <a:cubicBezTo>
                    <a:pt x="70" y="164"/>
                    <a:pt x="70" y="164"/>
                    <a:pt x="70" y="164"/>
                  </a:cubicBezTo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</p:grpSp>
      <p:sp>
        <p:nvSpPr>
          <p:cNvPr id="27" name="Rectangle 128">
            <a:extLst>
              <a:ext uri="{FF2B5EF4-FFF2-40B4-BE49-F238E27FC236}">
                <a16:creationId xmlns:a16="http://schemas.microsoft.com/office/drawing/2014/main" xmlns="" id="{22026CB0-DDB2-36D8-0B27-94BF40C53ECF}"/>
              </a:ext>
            </a:extLst>
          </p:cNvPr>
          <p:cNvSpPr>
            <a:spLocks/>
          </p:cNvSpPr>
          <p:nvPr/>
        </p:nvSpPr>
        <p:spPr>
          <a:xfrm>
            <a:off x="204204" y="4603804"/>
            <a:ext cx="8794113" cy="444437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28" name="object 1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619215" y="13583"/>
            <a:ext cx="500932" cy="495301"/>
          </a:xfrm>
          <a:prstGeom prst="rect">
            <a:avLst/>
          </a:prstGeom>
        </p:spPr>
      </p:pic>
      <p:sp>
        <p:nvSpPr>
          <p:cNvPr id="29" name="Заголовок 5">
            <a:extLst>
              <a:ext uri="{FF2B5EF4-FFF2-40B4-BE49-F238E27FC236}">
                <a16:creationId xmlns:a16="http://schemas.microsoft.com/office/drawing/2014/main" xmlns="" id="{528CA4EA-4A79-DE62-B6B4-FE7A4A09FE66}"/>
              </a:ext>
            </a:extLst>
          </p:cNvPr>
          <p:cNvSpPr txBox="1">
            <a:spLocks/>
          </p:cNvSpPr>
          <p:nvPr/>
        </p:nvSpPr>
        <p:spPr bwMode="auto">
          <a:xfrm>
            <a:off x="720239" y="191021"/>
            <a:ext cx="8274791" cy="293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06508" algn="l"/>
              </a:tabLst>
              <a:defRPr/>
            </a:pPr>
            <a:r>
              <a:rPr lang="ru-RU" sz="2000" b="1" kern="0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ОБРАЗОВАТЕЛЬНЫЙ  МОДУЛЬ БНС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p:oleObj spid="_x0000_s182274" name="think-cell Slide" r:id="rId5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143202" y="1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ＭＳ Ｐゴシック" panose="020B0600070205080204" pitchFamily="34" charset="-128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cxnSp>
        <p:nvCxnSpPr>
          <p:cNvPr id="20" name="Straight Connector 318">
            <a:extLst>
              <a:ext uri="{FF2B5EF4-FFF2-40B4-BE49-F238E27FC236}">
                <a16:creationId xmlns:a16="http://schemas.microsoft.com/office/drawing/2014/main" xmlns="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78251" y="608795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16" name="Заголовок 5">
            <a:extLst>
              <a:ext uri="{FF2B5EF4-FFF2-40B4-BE49-F238E27FC236}">
                <a16:creationId xmlns:a16="http://schemas.microsoft.com/office/drawing/2014/main" xmlns="" id="{528CA4EA-4A79-DE62-B6B4-FE7A4A09FE66}"/>
              </a:ext>
            </a:extLst>
          </p:cNvPr>
          <p:cNvSpPr txBox="1">
            <a:spLocks/>
          </p:cNvSpPr>
          <p:nvPr/>
        </p:nvSpPr>
        <p:spPr bwMode="auto">
          <a:xfrm>
            <a:off x="720239" y="191021"/>
            <a:ext cx="8274791" cy="293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06508" algn="l"/>
              </a:tabLst>
              <a:defRPr/>
            </a:pPr>
            <a:r>
              <a:rPr lang="ru-RU" sz="2000" b="1" kern="0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ОБРАЗОВАТЕЛЬНЫЙ  МОДУЛЬ БНС</a:t>
            </a:r>
          </a:p>
        </p:txBody>
      </p:sp>
      <p:sp>
        <p:nvSpPr>
          <p:cNvPr id="17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94171" y="114355"/>
            <a:ext cx="414000" cy="413438"/>
          </a:xfrm>
          <a:prstGeom prst="roundRect">
            <a:avLst/>
          </a:prstGeom>
          <a:solidFill>
            <a:srgbClr val="0070CE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ru-RU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1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sp>
        <p:nvSpPr>
          <p:cNvPr id="18" name="Rectangle 128">
            <a:extLst>
              <a:ext uri="{FF2B5EF4-FFF2-40B4-BE49-F238E27FC236}">
                <a16:creationId xmlns="" xmlns:a16="http://schemas.microsoft.com/office/drawing/2014/main" id="{22026CB0-DDB2-36D8-0B27-94BF40C53ECF}"/>
              </a:ext>
            </a:extLst>
          </p:cNvPr>
          <p:cNvSpPr>
            <a:spLocks/>
          </p:cNvSpPr>
          <p:nvPr/>
        </p:nvSpPr>
        <p:spPr>
          <a:xfrm>
            <a:off x="174944" y="4431342"/>
            <a:ext cx="8702356" cy="50625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ru-RU" sz="1200" b="1" dirty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45276" y="4434931"/>
            <a:ext cx="83409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200" dirty="0" smtClean="0">
                <a:latin typeface="Nunito Sans"/>
              </a:rPr>
              <a:t>Модуль внедрен </a:t>
            </a:r>
            <a:r>
              <a:rPr lang="kk-KZ" sz="1200" dirty="0" smtClean="0">
                <a:latin typeface="Nunito Sans"/>
              </a:rPr>
              <a:t>в образовательную программу “Экономика” </a:t>
            </a:r>
            <a:r>
              <a:rPr lang="ru-RU" sz="120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Казахстанского филиала МГУ </a:t>
            </a:r>
          </a:p>
          <a:p>
            <a:pPr algn="ctr"/>
            <a:r>
              <a:rPr lang="ru-RU" sz="1200" b="1" dirty="0" smtClean="0">
                <a:solidFill>
                  <a:srgbClr val="0070CE"/>
                </a:solidFill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им. М.В. Ломоносова </a:t>
            </a:r>
            <a:r>
              <a:rPr lang="ru-RU" sz="1200" dirty="0" smtClean="0">
                <a:latin typeface="Nunito Sans"/>
              </a:rPr>
              <a:t>в весеннем семестре 2023 года и продолжена </a:t>
            </a:r>
            <a:r>
              <a:rPr lang="kk-KZ" sz="1200" dirty="0" smtClean="0">
                <a:latin typeface="Nunito Sans"/>
              </a:rPr>
              <a:t>в весеннем семестре 2024 года</a:t>
            </a:r>
            <a:endParaRPr lang="ru-RU" sz="1200" b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pic>
        <p:nvPicPr>
          <p:cNvPr id="23" name="object 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43428" y="4504808"/>
            <a:ext cx="385222" cy="289442"/>
          </a:xfrm>
          <a:prstGeom prst="rect">
            <a:avLst/>
          </a:prstGeom>
        </p:spPr>
      </p:pic>
      <p:pic>
        <p:nvPicPr>
          <p:cNvPr id="11" name="object 1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619215" y="13583"/>
            <a:ext cx="500932" cy="495301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4110825" y="897835"/>
            <a:ext cx="4603805" cy="3030110"/>
          </a:xfrm>
          <a:prstGeom prst="rect">
            <a:avLst/>
          </a:prstGeom>
          <a:solidFill>
            <a:schemeClr val="bg2"/>
          </a:solidFill>
          <a:ln w="15875">
            <a:solidFill>
              <a:schemeClr val="accent3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1584" y="906448"/>
            <a:ext cx="375997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spc="-15" dirty="0" smtClean="0">
                <a:latin typeface="Nunito Sans"/>
                <a:cs typeface="Arial"/>
              </a:rPr>
              <a:t>Обучились </a:t>
            </a:r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– 26 человек</a:t>
            </a:r>
          </a:p>
          <a:p>
            <a:r>
              <a:rPr lang="ru-RU" sz="1400" b="1" spc="-15" dirty="0" smtClean="0">
                <a:latin typeface="Nunito Sans"/>
                <a:cs typeface="Arial"/>
              </a:rPr>
              <a:t>Продолжительность</a:t>
            </a:r>
            <a:r>
              <a:rPr lang="ru-RU" sz="14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 </a:t>
            </a:r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– 16 недель</a:t>
            </a:r>
          </a:p>
          <a:p>
            <a:r>
              <a:rPr lang="ru-RU" sz="1400" b="1" spc="-15" dirty="0" smtClean="0">
                <a:latin typeface="Nunito Sans"/>
                <a:cs typeface="Arial"/>
              </a:rPr>
              <a:t>Объем курса</a:t>
            </a:r>
            <a:r>
              <a:rPr lang="ru-RU" sz="1400" b="1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 </a:t>
            </a:r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– </a:t>
            </a:r>
          </a:p>
          <a:p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64 академических часа</a:t>
            </a:r>
          </a:p>
          <a:p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(21 лекция - 42 часа, 11 семинаров - 22 часа) </a:t>
            </a:r>
          </a:p>
          <a:p>
            <a:r>
              <a:rPr lang="ru-RU" sz="1400" b="1" spc="-15" dirty="0" smtClean="0">
                <a:latin typeface="Nunito Sans"/>
                <a:cs typeface="Arial"/>
              </a:rPr>
              <a:t>Еженедельная нагрузка </a:t>
            </a:r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– </a:t>
            </a:r>
          </a:p>
          <a:p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4 академических часа (2 пары)</a:t>
            </a:r>
          </a:p>
          <a:p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По итогам модуля проведен зачет в виде теста</a:t>
            </a:r>
          </a:p>
        </p:txBody>
      </p:sp>
      <p:pic>
        <p:nvPicPr>
          <p:cNvPr id="14" name="Picture 4" descr="C:\Users\gbeksautova\Downloads\handled_PHOTO-2023-05-30-18-23-24_1080_1920_80 (4)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43014" y="2417195"/>
            <a:ext cx="2240007" cy="145509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5" descr="C:\Users\gbeksautova\Downloads\handled_PHOTO-2023-05-30-18-23-24_1080_1920_80 (5)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60188" y="2414546"/>
            <a:ext cx="2227198" cy="1457738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6" descr="C:\Users\gbeksautova\Downloads\handled_PHOTO-2023-05-30-18-23-36_1080_1920_8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168800" y="933945"/>
            <a:ext cx="2216097" cy="1435543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7" descr="C:\Users\gbeksautova\Downloads\handled_PHOTO-2023-05-30-18-23-24_1080_1920_80 (2)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48507" y="926326"/>
            <a:ext cx="2226365" cy="1431339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26" name="AutoShape 250">
            <a:extLst>
              <a:ext uri="{FF2B5EF4-FFF2-40B4-BE49-F238E27FC236}">
                <a16:creationId xmlns="" xmlns:a16="http://schemas.microsoft.com/office/drawing/2014/main" id="{A4827561-7DEC-7DAF-E853-4C74CC6F3D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6004" y="3254549"/>
            <a:ext cx="358603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/>
          <a:p>
            <a:pPr algn="just"/>
            <a:r>
              <a:rPr lang="ru-RU" sz="1400" dirty="0" smtClean="0">
                <a:latin typeface="+mn-lt"/>
                <a:cs typeface="Arial"/>
              </a:rPr>
              <a:t>Ведутся переговоры </a:t>
            </a:r>
            <a:r>
              <a:rPr lang="ru-RU" sz="1400" dirty="0" smtClean="0">
                <a:solidFill>
                  <a:srgbClr val="0070CE"/>
                </a:solidFill>
                <a:latin typeface="+mn-lt"/>
                <a:ea typeface="ＭＳ Ｐゴシック" panose="020B0600070205080204" pitchFamily="34" charset="-128"/>
                <a:cs typeface="Segoe UI Light" panose="020B0502040204020203" pitchFamily="34" charset="0"/>
              </a:rPr>
              <a:t>о включении </a:t>
            </a:r>
            <a:r>
              <a:rPr lang="ru-RU" sz="1400" dirty="0" smtClean="0">
                <a:latin typeface="+mn-lt"/>
                <a:cs typeface="Arial"/>
              </a:rPr>
              <a:t>модуля Бюро в образовательные программы казахстанских ВУЗов</a:t>
            </a:r>
          </a:p>
        </p:txBody>
      </p:sp>
    </p:spTree>
    <p:extLst>
      <p:ext uri="{BB962C8B-B14F-4D97-AF65-F5344CB8AC3E}">
        <p14:creationId xmlns:p14="http://schemas.microsoft.com/office/powerpoint/2010/main" xmlns="" val="4093299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bject 15"/>
          <p:cNvSpPr/>
          <p:nvPr/>
        </p:nvSpPr>
        <p:spPr>
          <a:xfrm>
            <a:off x="977724" y="3943838"/>
            <a:ext cx="7738205" cy="381731"/>
          </a:xfrm>
          <a:custGeom>
            <a:avLst/>
            <a:gdLst/>
            <a:ahLst/>
            <a:cxnLst/>
            <a:rect l="l" t="t" r="r" b="b"/>
            <a:pathLst>
              <a:path w="7143115" h="809625">
                <a:moveTo>
                  <a:pt x="7142988" y="0"/>
                </a:moveTo>
                <a:lnTo>
                  <a:pt x="0" y="0"/>
                </a:lnTo>
                <a:lnTo>
                  <a:pt x="0" y="809244"/>
                </a:lnTo>
                <a:lnTo>
                  <a:pt x="7142988" y="809244"/>
                </a:lnTo>
                <a:lnTo>
                  <a:pt x="7142988" y="0"/>
                </a:lnTo>
                <a:close/>
              </a:path>
            </a:pathLst>
          </a:custGeom>
          <a:solidFill>
            <a:srgbClr val="F2F2F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r>
              <a:rPr lang="ru-RU" sz="1100" dirty="0" smtClean="0"/>
              <a:t>  </a:t>
            </a:r>
          </a:p>
        </p:txBody>
      </p:sp>
      <p:sp>
        <p:nvSpPr>
          <p:cNvPr id="53" name="object 15"/>
          <p:cNvSpPr/>
          <p:nvPr/>
        </p:nvSpPr>
        <p:spPr>
          <a:xfrm>
            <a:off x="975191" y="3417344"/>
            <a:ext cx="7740738" cy="351552"/>
          </a:xfrm>
          <a:custGeom>
            <a:avLst/>
            <a:gdLst/>
            <a:ahLst/>
            <a:cxnLst/>
            <a:rect l="l" t="t" r="r" b="b"/>
            <a:pathLst>
              <a:path w="7143115" h="809625">
                <a:moveTo>
                  <a:pt x="7142988" y="0"/>
                </a:moveTo>
                <a:lnTo>
                  <a:pt x="0" y="0"/>
                </a:lnTo>
                <a:lnTo>
                  <a:pt x="0" y="809244"/>
                </a:lnTo>
                <a:lnTo>
                  <a:pt x="7142988" y="809244"/>
                </a:lnTo>
                <a:lnTo>
                  <a:pt x="7142988" y="0"/>
                </a:lnTo>
                <a:close/>
              </a:path>
            </a:pathLst>
          </a:custGeom>
          <a:solidFill>
            <a:srgbClr val="F2F2F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94171" y="114355"/>
            <a:ext cx="414000" cy="41343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kk-KZ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2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cxnSp>
        <p:nvCxnSpPr>
          <p:cNvPr id="35" name="Straight Connector 318">
            <a:extLst>
              <a:ext uri="{FF2B5EF4-FFF2-40B4-BE49-F238E27FC236}">
                <a16:creationId xmlns:a16="http://schemas.microsoft.com/office/drawing/2014/main" xmlns="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78251" y="608795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15" name="object 15"/>
          <p:cNvSpPr/>
          <p:nvPr/>
        </p:nvSpPr>
        <p:spPr>
          <a:xfrm>
            <a:off x="967864" y="1224672"/>
            <a:ext cx="7742881" cy="405345"/>
          </a:xfrm>
          <a:custGeom>
            <a:avLst/>
            <a:gdLst/>
            <a:ahLst/>
            <a:cxnLst/>
            <a:rect l="l" t="t" r="r" b="b"/>
            <a:pathLst>
              <a:path w="7143115" h="809625">
                <a:moveTo>
                  <a:pt x="7142988" y="0"/>
                </a:moveTo>
                <a:lnTo>
                  <a:pt x="0" y="0"/>
                </a:lnTo>
                <a:lnTo>
                  <a:pt x="0" y="809244"/>
                </a:lnTo>
                <a:lnTo>
                  <a:pt x="7142988" y="809244"/>
                </a:lnTo>
                <a:lnTo>
                  <a:pt x="7142988" y="0"/>
                </a:lnTo>
                <a:close/>
              </a:path>
            </a:pathLst>
          </a:custGeom>
          <a:solidFill>
            <a:srgbClr val="F2F2F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049851" y="4048718"/>
            <a:ext cx="7676707" cy="179376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 marR="3810">
              <a:spcBef>
                <a:spcPts val="79"/>
              </a:spcBef>
            </a:pPr>
            <a:r>
              <a:rPr lang="ru-RU" sz="1100" dirty="0" smtClean="0"/>
              <a:t>прохождение производственной практики на базе Бюро для студентов ВУЗов </a:t>
            </a:r>
            <a:r>
              <a:rPr lang="ru-RU" sz="1100" dirty="0" smtClean="0"/>
              <a:t>РК</a:t>
            </a:r>
            <a:endParaRPr lang="ru-RU" sz="1100" dirty="0" smtClean="0"/>
          </a:p>
        </p:txBody>
      </p:sp>
      <p:sp>
        <p:nvSpPr>
          <p:cNvPr id="22" name="object 8"/>
          <p:cNvSpPr/>
          <p:nvPr/>
        </p:nvSpPr>
        <p:spPr>
          <a:xfrm>
            <a:off x="983766" y="1748920"/>
            <a:ext cx="7737581" cy="382013"/>
          </a:xfrm>
          <a:custGeom>
            <a:avLst/>
            <a:gdLst/>
            <a:ahLst/>
            <a:cxnLst/>
            <a:rect l="l" t="t" r="r" b="b"/>
            <a:pathLst>
              <a:path w="7143115" h="809625">
                <a:moveTo>
                  <a:pt x="7142988" y="0"/>
                </a:moveTo>
                <a:lnTo>
                  <a:pt x="0" y="0"/>
                </a:lnTo>
                <a:lnTo>
                  <a:pt x="0" y="809244"/>
                </a:lnTo>
                <a:lnTo>
                  <a:pt x="7142988" y="809244"/>
                </a:lnTo>
                <a:lnTo>
                  <a:pt x="7142988" y="0"/>
                </a:lnTo>
                <a:close/>
              </a:path>
            </a:pathLst>
          </a:custGeom>
          <a:solidFill>
            <a:srgbClr val="F2F2F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3"/>
          <p:cNvSpPr/>
          <p:nvPr/>
        </p:nvSpPr>
        <p:spPr>
          <a:xfrm>
            <a:off x="975720" y="2289955"/>
            <a:ext cx="7740209" cy="389767"/>
          </a:xfrm>
          <a:custGeom>
            <a:avLst/>
            <a:gdLst/>
            <a:ahLst/>
            <a:cxnLst/>
            <a:rect l="l" t="t" r="r" b="b"/>
            <a:pathLst>
              <a:path w="7143115" h="809625">
                <a:moveTo>
                  <a:pt x="7142988" y="0"/>
                </a:moveTo>
                <a:lnTo>
                  <a:pt x="0" y="0"/>
                </a:lnTo>
                <a:lnTo>
                  <a:pt x="0" y="809243"/>
                </a:lnTo>
                <a:lnTo>
                  <a:pt x="7142988" y="809243"/>
                </a:lnTo>
                <a:lnTo>
                  <a:pt x="7142988" y="0"/>
                </a:lnTo>
                <a:close/>
              </a:path>
            </a:pathLst>
          </a:custGeom>
          <a:solidFill>
            <a:srgbClr val="F2F2F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0"/>
          <p:cNvSpPr/>
          <p:nvPr/>
        </p:nvSpPr>
        <p:spPr>
          <a:xfrm>
            <a:off x="977724" y="2843116"/>
            <a:ext cx="7740737" cy="389818"/>
          </a:xfrm>
          <a:custGeom>
            <a:avLst/>
            <a:gdLst/>
            <a:ahLst/>
            <a:cxnLst/>
            <a:rect l="l" t="t" r="r" b="b"/>
            <a:pathLst>
              <a:path w="7143115" h="809625">
                <a:moveTo>
                  <a:pt x="7142988" y="0"/>
                </a:moveTo>
                <a:lnTo>
                  <a:pt x="0" y="0"/>
                </a:lnTo>
                <a:lnTo>
                  <a:pt x="0" y="809244"/>
                </a:lnTo>
                <a:lnTo>
                  <a:pt x="7142988" y="809244"/>
                </a:lnTo>
                <a:lnTo>
                  <a:pt x="7142988" y="0"/>
                </a:lnTo>
                <a:close/>
              </a:path>
            </a:pathLst>
          </a:custGeom>
          <a:solidFill>
            <a:srgbClr val="F2F2F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16"/>
          <p:cNvSpPr txBox="1"/>
          <p:nvPr/>
        </p:nvSpPr>
        <p:spPr>
          <a:xfrm>
            <a:off x="1016985" y="1232435"/>
            <a:ext cx="7676707" cy="348653"/>
          </a:xfrm>
          <a:prstGeom prst="rect">
            <a:avLst/>
          </a:prstGeom>
          <a:noFill/>
        </p:spPr>
        <p:txBody>
          <a:bodyPr vert="horz" wrap="square" lIns="0" tIns="10001" rIns="0" bIns="0" rtlCol="0">
            <a:spAutoFit/>
          </a:bodyPr>
          <a:lstStyle/>
          <a:p>
            <a:pPr lvl="0"/>
            <a:r>
              <a:rPr lang="ru-RU" sz="1100" dirty="0" smtClean="0"/>
              <a:t>переговоры с ВУЗами РК  по вопросу включения модуля Бюро в их образовательные программы и возможности преподавания сотрудников Бюро по дисциплинам вне модуля</a:t>
            </a:r>
          </a:p>
        </p:txBody>
      </p:sp>
      <p:sp>
        <p:nvSpPr>
          <p:cNvPr id="55" name="object 16"/>
          <p:cNvSpPr txBox="1"/>
          <p:nvPr/>
        </p:nvSpPr>
        <p:spPr>
          <a:xfrm>
            <a:off x="1025741" y="2375440"/>
            <a:ext cx="7714499" cy="179376"/>
          </a:xfrm>
          <a:prstGeom prst="rect">
            <a:avLst/>
          </a:prstGeom>
          <a:noFill/>
        </p:spPr>
        <p:txBody>
          <a:bodyPr vert="horz" wrap="square" lIns="0" tIns="10001" rIns="0" bIns="0" rtlCol="0">
            <a:spAutoFit/>
          </a:bodyPr>
          <a:lstStyle/>
          <a:p>
            <a:pPr lvl="0"/>
            <a:r>
              <a:rPr lang="ru-RU" sz="1100" dirty="0" smtClean="0"/>
              <a:t>проведение гостевых лекций в ВУЗах РК сотрудниками </a:t>
            </a:r>
            <a:r>
              <a:rPr lang="ru-RU" sz="1100" dirty="0" smtClean="0"/>
              <a:t>Бюро</a:t>
            </a:r>
            <a:endParaRPr lang="ru-RU" sz="1100" dirty="0"/>
          </a:p>
        </p:txBody>
      </p:sp>
      <p:sp>
        <p:nvSpPr>
          <p:cNvPr id="61" name="object 15"/>
          <p:cNvSpPr/>
          <p:nvPr/>
        </p:nvSpPr>
        <p:spPr>
          <a:xfrm>
            <a:off x="967215" y="4471636"/>
            <a:ext cx="7751247" cy="370699"/>
          </a:xfrm>
          <a:custGeom>
            <a:avLst/>
            <a:gdLst/>
            <a:ahLst/>
            <a:cxnLst/>
            <a:rect l="l" t="t" r="r" b="b"/>
            <a:pathLst>
              <a:path w="7143115" h="809625">
                <a:moveTo>
                  <a:pt x="7142988" y="0"/>
                </a:moveTo>
                <a:lnTo>
                  <a:pt x="0" y="0"/>
                </a:lnTo>
                <a:lnTo>
                  <a:pt x="0" y="809244"/>
                </a:lnTo>
                <a:lnTo>
                  <a:pt x="7142988" y="809244"/>
                </a:lnTo>
                <a:lnTo>
                  <a:pt x="7142988" y="0"/>
                </a:lnTo>
                <a:close/>
              </a:path>
            </a:pathLst>
          </a:custGeom>
          <a:solidFill>
            <a:srgbClr val="F2F2F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16"/>
          <p:cNvSpPr txBox="1"/>
          <p:nvPr/>
        </p:nvSpPr>
        <p:spPr>
          <a:xfrm>
            <a:off x="1029945" y="1759481"/>
            <a:ext cx="7676707" cy="348653"/>
          </a:xfrm>
          <a:prstGeom prst="rect">
            <a:avLst/>
          </a:prstGeom>
          <a:noFill/>
        </p:spPr>
        <p:txBody>
          <a:bodyPr vert="horz" wrap="square" lIns="0" tIns="10001" rIns="0" bIns="0" rtlCol="0">
            <a:spAutoFit/>
          </a:bodyPr>
          <a:lstStyle/>
          <a:p>
            <a:pPr lvl="0"/>
            <a:r>
              <a:rPr lang="ru-RU" sz="1100" dirty="0" smtClean="0"/>
              <a:t>открытие совместной магистерской программы «Статистика и управление данными в современной экономике» в Казахстанском филиале МГУ имени М.В.Ломоносова</a:t>
            </a:r>
            <a:endParaRPr lang="ru-RU" sz="1100" dirty="0"/>
          </a:p>
        </p:txBody>
      </p:sp>
      <p:pic>
        <p:nvPicPr>
          <p:cNvPr id="69" name="object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609604" y="29485"/>
            <a:ext cx="498766" cy="516784"/>
          </a:xfrm>
          <a:prstGeom prst="rect">
            <a:avLst/>
          </a:prstGeom>
        </p:spPr>
      </p:pic>
      <p:pic>
        <p:nvPicPr>
          <p:cNvPr id="79" name="Picture 18" descr="C:\Users\gbeksautova\Downloads\mobile_file_2024-02-20_02-54-06.jpg"/>
          <p:cNvPicPr>
            <a:picLocks noChangeAspect="1" noChangeArrowheads="1"/>
          </p:cNvPicPr>
          <p:nvPr/>
        </p:nvPicPr>
        <p:blipFill>
          <a:blip r:embed="rId3" cstate="print">
            <a:grayscl/>
          </a:blip>
          <a:srcRect/>
          <a:stretch>
            <a:fillRect/>
          </a:stretch>
        </p:blipFill>
        <p:spPr bwMode="auto">
          <a:xfrm>
            <a:off x="350998" y="3928106"/>
            <a:ext cx="412659" cy="348019"/>
          </a:xfrm>
          <a:prstGeom prst="rect">
            <a:avLst/>
          </a:prstGeom>
          <a:noFill/>
        </p:spPr>
      </p:pic>
      <p:sp>
        <p:nvSpPr>
          <p:cNvPr id="87" name="Прямоугольник 86"/>
          <p:cNvSpPr/>
          <p:nvPr/>
        </p:nvSpPr>
        <p:spPr>
          <a:xfrm>
            <a:off x="811496" y="1742697"/>
            <a:ext cx="64636" cy="40943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Прямоугольник 90"/>
          <p:cNvSpPr/>
          <p:nvPr/>
        </p:nvSpPr>
        <p:spPr>
          <a:xfrm>
            <a:off x="827727" y="3912023"/>
            <a:ext cx="62819" cy="43842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рямоугольник 91"/>
          <p:cNvSpPr/>
          <p:nvPr/>
        </p:nvSpPr>
        <p:spPr>
          <a:xfrm>
            <a:off x="832061" y="4444766"/>
            <a:ext cx="66435" cy="4394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5105" name="Picture 1" descr="C:\Users\gbeksautova\Downloads\mobile_file_2024-04-08_13-38-28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86897" y="3391186"/>
            <a:ext cx="433855" cy="398178"/>
          </a:xfrm>
          <a:prstGeom prst="rect">
            <a:avLst/>
          </a:prstGeom>
          <a:noFill/>
        </p:spPr>
      </p:pic>
      <p:pic>
        <p:nvPicPr>
          <p:cNvPr id="175107" name="Picture 3" descr="C:\Users\gbeksautova\Downloads\mobile_file_2024-04-08_13-46-38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77336" y="1765172"/>
            <a:ext cx="381507" cy="341877"/>
          </a:xfrm>
          <a:prstGeom prst="rect">
            <a:avLst/>
          </a:prstGeom>
          <a:noFill/>
        </p:spPr>
      </p:pic>
      <p:pic>
        <p:nvPicPr>
          <p:cNvPr id="175108" name="Picture 4" descr="C:\Users\gbeksautova\Downloads\mobile_file_2024-04-08_13-48-50.jp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6978" y="2282324"/>
            <a:ext cx="357492" cy="357492"/>
          </a:xfrm>
          <a:prstGeom prst="rect">
            <a:avLst/>
          </a:prstGeom>
          <a:noFill/>
        </p:spPr>
      </p:pic>
      <p:pic>
        <p:nvPicPr>
          <p:cNvPr id="175109" name="Picture 5" descr="C:\Users\gbeksautova\Downloads\mobile_file_2024-04-08_13-51-38.jpg"/>
          <p:cNvPicPr>
            <a:picLocks noChangeAspect="1" noChangeArrowheads="1"/>
          </p:cNvPicPr>
          <p:nvPr/>
        </p:nvPicPr>
        <p:blipFill>
          <a:blip r:embed="rId7" cstate="print">
            <a:grayscl/>
          </a:blip>
          <a:srcRect/>
          <a:stretch>
            <a:fillRect/>
          </a:stretch>
        </p:blipFill>
        <p:spPr bwMode="auto">
          <a:xfrm>
            <a:off x="319894" y="1222983"/>
            <a:ext cx="422842" cy="422842"/>
          </a:xfrm>
          <a:prstGeom prst="rect">
            <a:avLst/>
          </a:prstGeom>
          <a:noFill/>
        </p:spPr>
      </p:pic>
      <p:sp>
        <p:nvSpPr>
          <p:cNvPr id="36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925" y="273916"/>
            <a:ext cx="8274791" cy="223745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ru-RU" sz="2000" b="1" kern="0" dirty="0" smtClean="0">
                <a:solidFill>
                  <a:schemeClr val="bg1">
                    <a:lumMod val="50000"/>
                  </a:schemeClr>
                </a:solidFill>
              </a:rPr>
              <a:t>ВЗАИМОДЕЙСТВИЕ С ВУЗами РК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50186" y="3456148"/>
            <a:ext cx="768493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/>
              <a:t>прохождение стажировок магистрантами ВУЗов и трудоустройство в Бюро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42235" y="2907511"/>
            <a:ext cx="765313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/>
              <a:t>проведение совместных исследований по актуальным темам </a:t>
            </a:r>
          </a:p>
        </p:txBody>
      </p:sp>
      <p:pic>
        <p:nvPicPr>
          <p:cNvPr id="41" name="Picture 14" descr="C:\Users\gbeksautova\Downloads\mobile_file_2024-02-20_02-44-37.jp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94197" y="2855937"/>
            <a:ext cx="461176" cy="396258"/>
          </a:xfrm>
          <a:prstGeom prst="rect">
            <a:avLst/>
          </a:prstGeom>
          <a:noFill/>
        </p:spPr>
      </p:pic>
      <p:sp>
        <p:nvSpPr>
          <p:cNvPr id="42" name="Прямоугольник 41"/>
          <p:cNvSpPr/>
          <p:nvPr/>
        </p:nvSpPr>
        <p:spPr>
          <a:xfrm>
            <a:off x="974034" y="4505704"/>
            <a:ext cx="779625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/>
              <a:t>выпуск научных статей в соавторстве с сотрудниками </a:t>
            </a:r>
            <a:r>
              <a:rPr lang="ru-RU" sz="1100" dirty="0" smtClean="0"/>
              <a:t>Бюро</a:t>
            </a:r>
            <a:endParaRPr lang="ru-RU" sz="1100" dirty="0" smtClean="0"/>
          </a:p>
        </p:txBody>
      </p:sp>
      <p:sp>
        <p:nvSpPr>
          <p:cNvPr id="43" name="Прямоугольник 42"/>
          <p:cNvSpPr/>
          <p:nvPr/>
        </p:nvSpPr>
        <p:spPr>
          <a:xfrm>
            <a:off x="821101" y="3372659"/>
            <a:ext cx="62819" cy="43842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813150" y="2839922"/>
            <a:ext cx="62819" cy="43842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805199" y="1209907"/>
            <a:ext cx="62819" cy="43842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822426" y="2276704"/>
            <a:ext cx="62819" cy="43842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8" name="object 14"/>
          <p:cNvPicPr/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3740" y="739950"/>
            <a:ext cx="335669" cy="338065"/>
          </a:xfrm>
          <a:prstGeom prst="rect">
            <a:avLst/>
          </a:prstGeom>
        </p:spPr>
      </p:pic>
      <p:sp>
        <p:nvSpPr>
          <p:cNvPr id="49" name="object 15"/>
          <p:cNvSpPr/>
          <p:nvPr/>
        </p:nvSpPr>
        <p:spPr>
          <a:xfrm>
            <a:off x="953293" y="723569"/>
            <a:ext cx="7742881" cy="381659"/>
          </a:xfrm>
          <a:custGeom>
            <a:avLst/>
            <a:gdLst/>
            <a:ahLst/>
            <a:cxnLst/>
            <a:rect l="l" t="t" r="r" b="b"/>
            <a:pathLst>
              <a:path w="7143115" h="809625">
                <a:moveTo>
                  <a:pt x="7142988" y="0"/>
                </a:moveTo>
                <a:lnTo>
                  <a:pt x="0" y="0"/>
                </a:lnTo>
                <a:lnTo>
                  <a:pt x="0" y="809244"/>
                </a:lnTo>
                <a:lnTo>
                  <a:pt x="7142988" y="809244"/>
                </a:lnTo>
                <a:lnTo>
                  <a:pt x="7142988" y="0"/>
                </a:lnTo>
                <a:close/>
              </a:path>
            </a:pathLst>
          </a:custGeom>
          <a:solidFill>
            <a:srgbClr val="F2F2F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16"/>
          <p:cNvSpPr txBox="1"/>
          <p:nvPr/>
        </p:nvSpPr>
        <p:spPr>
          <a:xfrm>
            <a:off x="986512" y="804412"/>
            <a:ext cx="7676707" cy="179376"/>
          </a:xfrm>
          <a:prstGeom prst="rect">
            <a:avLst/>
          </a:prstGeom>
          <a:noFill/>
        </p:spPr>
        <p:txBody>
          <a:bodyPr vert="horz" wrap="square" lIns="0" tIns="10001" rIns="0" bIns="0" rtlCol="0">
            <a:spAutoFit/>
          </a:bodyPr>
          <a:lstStyle/>
          <a:p>
            <a:pPr lvl="0"/>
            <a:r>
              <a:rPr lang="ru-RU" sz="1100" dirty="0" smtClean="0"/>
              <a:t>заключено 8 меморандумов о взаимодействии с ВУЗами РК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806530" y="715617"/>
            <a:ext cx="60162" cy="40132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2" name="Рисунок 51" descr="depositphotos_253773908-stock-illustration-questionnaires-line-icon-concept-questionnaires.jpg"/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lum/>
          </a:blip>
          <a:stretch>
            <a:fillRect/>
          </a:stretch>
        </p:blipFill>
        <p:spPr>
          <a:xfrm>
            <a:off x="401145" y="4410877"/>
            <a:ext cx="396520" cy="4038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143202" y="1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ＭＳ Ｐゴシック" panose="020B0600070205080204" pitchFamily="34" charset="-128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06800" y="612643"/>
            <a:ext cx="53365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Nunito Sans"/>
              </a:rPr>
              <a:t>В мае 2023 года </a:t>
            </a:r>
            <a:r>
              <a:rPr lang="ru-RU" sz="1200" dirty="0" err="1" smtClean="0">
                <a:latin typeface="Nunito Sans"/>
              </a:rPr>
              <a:t>Статкомитетом</a:t>
            </a:r>
            <a:r>
              <a:rPr lang="ru-RU" sz="1200" dirty="0" smtClean="0">
                <a:latin typeface="Nunito Sans"/>
              </a:rPr>
              <a:t> СНГ</a:t>
            </a:r>
            <a:r>
              <a:rPr lang="ru-RU" sz="1200" dirty="0" smtClean="0">
                <a:latin typeface="Nunito Sans"/>
              </a:rPr>
              <a:t> </a:t>
            </a:r>
            <a:r>
              <a:rPr lang="ru-RU" sz="1200" dirty="0" smtClean="0">
                <a:latin typeface="Nunito Sans"/>
              </a:rPr>
              <a:t>была проведена первая </a:t>
            </a:r>
            <a:r>
              <a:rPr lang="ru-RU" sz="1200" b="1" dirty="0" smtClean="0">
                <a:latin typeface="Nunito Sans"/>
              </a:rPr>
              <a:t>Международная статистическая студенческая </a:t>
            </a:r>
            <a:r>
              <a:rPr lang="ru-RU" sz="1200" b="1" dirty="0" smtClean="0">
                <a:latin typeface="Nunito Sans"/>
              </a:rPr>
              <a:t>олимпиада </a:t>
            </a:r>
            <a:r>
              <a:rPr lang="ru-RU" sz="1200" dirty="0" smtClean="0">
                <a:latin typeface="Nunito Sans"/>
              </a:rPr>
              <a:t>(г.Москва)</a:t>
            </a:r>
            <a:endParaRPr lang="ru-RU" sz="1200" dirty="0" smtClean="0">
              <a:latin typeface="Nunito San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342891" y="3080116"/>
            <a:ext cx="378927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i="1" dirty="0" smtClean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Встреча руководства Бюро с победителями олимпиады</a:t>
            </a:r>
            <a:endParaRPr lang="en-US" sz="1000" i="1" dirty="0" smtClean="0"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cxnSp>
        <p:nvCxnSpPr>
          <p:cNvPr id="24" name="Straight Connector 318">
            <a:extLst>
              <a:ext uri="{FF2B5EF4-FFF2-40B4-BE49-F238E27FC236}">
                <a16:creationId xmlns:a16="http://schemas.microsoft.com/office/drawing/2014/main" xmlns="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61575" y="571057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47" name="Ромб 46"/>
          <p:cNvSpPr/>
          <p:nvPr/>
        </p:nvSpPr>
        <p:spPr>
          <a:xfrm>
            <a:off x="819507" y="3140015"/>
            <a:ext cx="396814" cy="405442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48" name="Ромб 47"/>
          <p:cNvSpPr/>
          <p:nvPr/>
        </p:nvSpPr>
        <p:spPr>
          <a:xfrm>
            <a:off x="195528" y="3536830"/>
            <a:ext cx="744748" cy="526211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49" name="Ромб 48"/>
          <p:cNvSpPr/>
          <p:nvPr/>
        </p:nvSpPr>
        <p:spPr>
          <a:xfrm>
            <a:off x="632597" y="4008406"/>
            <a:ext cx="744748" cy="526211"/>
          </a:xfrm>
          <a:prstGeom prst="diamond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Nunito Sans"/>
              </a:rPr>
              <a:t>III</a:t>
            </a:r>
            <a:endParaRPr lang="ru-RU" dirty="0" err="1" smtClean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20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218" y="151075"/>
            <a:ext cx="8274791" cy="223745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ВЗАИМОДЕЙСТВИЕ С ВУЗами РК</a:t>
            </a:r>
            <a:endParaRPr lang="ru-RU" sz="2000" b="1" kern="0" dirty="0" smtClean="0">
              <a:solidFill>
                <a:schemeClr val="bg1">
                  <a:lumMod val="50000"/>
                </a:schemeClr>
              </a:solidFill>
              <a:latin typeface="Nunito Sans"/>
            </a:endParaRPr>
          </a:p>
        </p:txBody>
      </p:sp>
      <p:pic>
        <p:nvPicPr>
          <p:cNvPr id="156676" name="Picture 4" descr="C:\Users\a.adilbekova.inet\Desktop\Фото Олимпиада МГУ и Нархоз\WhatsApp Image 2024-04-19 at 15.18.55 (2).jpe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67955" y="704850"/>
            <a:ext cx="3060802" cy="4210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6677" name="Picture 5" descr="C:\Users\a.adilbekova.inet\Desktop\Фото Олимпиада МГУ и Нархоз\3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76695" y="3316730"/>
            <a:ext cx="1327173" cy="16341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6678" name="Picture 6" descr="C:\Users\a.adilbekova.inet\Desktop\Фото Олимпиада МГУ и Нархоз\МГУ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80736" y="1116871"/>
            <a:ext cx="3109114" cy="18909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object 13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609604" y="29485"/>
            <a:ext cx="498766" cy="516784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3825851" y="3504746"/>
            <a:ext cx="362833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200" dirty="0" smtClean="0">
              <a:latin typeface="Nunito Sans"/>
            </a:endParaRPr>
          </a:p>
          <a:p>
            <a:pPr algn="just"/>
            <a:r>
              <a:rPr lang="ru-RU" sz="1200" dirty="0" smtClean="0">
                <a:latin typeface="Nunito Sans"/>
              </a:rPr>
              <a:t>Казахстанский филиал МГУ имени</a:t>
            </a:r>
            <a:br>
              <a:rPr lang="ru-RU" sz="1200" dirty="0" smtClean="0">
                <a:latin typeface="Nunito Sans"/>
              </a:rPr>
            </a:br>
            <a:r>
              <a:rPr lang="ru-RU" sz="1200" dirty="0" smtClean="0">
                <a:latin typeface="Nunito Sans"/>
              </a:rPr>
              <a:t>М.В. Ломоносова занял </a:t>
            </a:r>
            <a:r>
              <a:rPr lang="ru-RU" sz="1200" b="1" dirty="0" smtClean="0">
                <a:latin typeface="Nunito Sans"/>
              </a:rPr>
              <a:t>Первое призовое место</a:t>
            </a:r>
            <a:endParaRPr lang="ru-RU" sz="1200" dirty="0" smtClean="0">
              <a:latin typeface="Nunito Sans"/>
            </a:endParaRPr>
          </a:p>
          <a:p>
            <a:pPr algn="just"/>
            <a:endParaRPr lang="ru-RU" sz="1200" dirty="0" smtClean="0">
              <a:latin typeface="Nunito Sans"/>
            </a:endParaRPr>
          </a:p>
          <a:p>
            <a:pPr algn="just"/>
            <a:r>
              <a:rPr lang="ru-RU" sz="1200" dirty="0" smtClean="0">
                <a:latin typeface="Nunito Sans"/>
              </a:rPr>
              <a:t>Университет </a:t>
            </a:r>
            <a:r>
              <a:rPr lang="ru-RU" sz="1200" dirty="0" smtClean="0">
                <a:latin typeface="Nunito Sans"/>
              </a:rPr>
              <a:t>«</a:t>
            </a:r>
            <a:r>
              <a:rPr lang="ru-RU" sz="1200" dirty="0" err="1" smtClean="0">
                <a:latin typeface="Nunito Sans"/>
              </a:rPr>
              <a:t>Нархоз</a:t>
            </a:r>
            <a:r>
              <a:rPr lang="ru-RU" sz="1200" dirty="0" smtClean="0">
                <a:latin typeface="Nunito Sans"/>
              </a:rPr>
              <a:t>» </a:t>
            </a:r>
            <a:r>
              <a:rPr lang="ru-RU" sz="1200" dirty="0" smtClean="0">
                <a:latin typeface="Nunito Sans"/>
              </a:rPr>
              <a:t>награжден в номинации </a:t>
            </a:r>
            <a:r>
              <a:rPr lang="ru-RU" sz="1200" b="1" dirty="0" smtClean="0">
                <a:latin typeface="Nunito Sans"/>
              </a:rPr>
              <a:t>«Профессиональный прорыв»</a:t>
            </a:r>
            <a:r>
              <a:rPr lang="ru-RU" sz="1200" dirty="0" smtClean="0">
                <a:latin typeface="Nunito Sans"/>
              </a:rPr>
              <a:t> </a:t>
            </a:r>
            <a:endParaRPr lang="ru-RU" sz="1200" i="1" dirty="0" smtClean="0">
              <a:solidFill>
                <a:srgbClr val="0070CE"/>
              </a:solidFill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pic>
        <p:nvPicPr>
          <p:cNvPr id="32" name="Picture 122" descr="Check mark 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75494" y="3777394"/>
            <a:ext cx="243041" cy="243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22" descr="Check mark 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81590" y="4441858"/>
            <a:ext cx="243041" cy="243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53228" y="134820"/>
            <a:ext cx="414000" cy="41343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kk-KZ" sz="2800" b="1" dirty="0" smtClean="0">
                <a:solidFill>
                  <a:schemeClr val="bg1"/>
                </a:solidFill>
                <a:latin typeface="Nunito Sans"/>
                <a:cs typeface="Segoe UI" panose="020B0502040204020203" pitchFamily="34" charset="0"/>
              </a:rPr>
              <a:t>2</a:t>
            </a:r>
            <a:endParaRPr lang="ru-RU" sz="2800" b="1" dirty="0">
              <a:solidFill>
                <a:schemeClr val="accent6"/>
              </a:solidFill>
              <a:latin typeface="Nunito Sans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4745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3"/>
          <p:cNvGrpSpPr/>
          <p:nvPr/>
        </p:nvGrpSpPr>
        <p:grpSpPr>
          <a:xfrm>
            <a:off x="90297" y="667654"/>
            <a:ext cx="2936081" cy="3801428"/>
            <a:chOff x="120395" y="890206"/>
            <a:chExt cx="3914775" cy="5068570"/>
          </a:xfrm>
        </p:grpSpPr>
        <p:pic>
          <p:nvPicPr>
            <p:cNvPr id="5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20395" y="905256"/>
              <a:ext cx="3913632" cy="5027676"/>
            </a:xfrm>
            <a:prstGeom prst="rect">
              <a:avLst/>
            </a:prstGeom>
          </p:spPr>
        </p:pic>
        <p:sp>
          <p:nvSpPr>
            <p:cNvPr id="6" name="object 5"/>
            <p:cNvSpPr/>
            <p:nvPr/>
          </p:nvSpPr>
          <p:spPr>
            <a:xfrm>
              <a:off x="224789" y="1105662"/>
              <a:ext cx="3689985" cy="4628515"/>
            </a:xfrm>
            <a:custGeom>
              <a:avLst/>
              <a:gdLst/>
              <a:ahLst/>
              <a:cxnLst/>
              <a:rect l="l" t="t" r="r" b="b"/>
              <a:pathLst>
                <a:path w="3689985" h="4628515">
                  <a:moveTo>
                    <a:pt x="3540633" y="0"/>
                  </a:moveTo>
                  <a:lnTo>
                    <a:pt x="148983" y="0"/>
                  </a:lnTo>
                  <a:lnTo>
                    <a:pt x="101892" y="7592"/>
                  </a:lnTo>
                  <a:lnTo>
                    <a:pt x="60995" y="28736"/>
                  </a:lnTo>
                  <a:lnTo>
                    <a:pt x="28744" y="60981"/>
                  </a:lnTo>
                  <a:lnTo>
                    <a:pt x="7595" y="101876"/>
                  </a:lnTo>
                  <a:lnTo>
                    <a:pt x="0" y="148971"/>
                  </a:lnTo>
                  <a:lnTo>
                    <a:pt x="0" y="4479417"/>
                  </a:lnTo>
                  <a:lnTo>
                    <a:pt x="7595" y="4526501"/>
                  </a:lnTo>
                  <a:lnTo>
                    <a:pt x="28744" y="4567395"/>
                  </a:lnTo>
                  <a:lnTo>
                    <a:pt x="60995" y="4599644"/>
                  </a:lnTo>
                  <a:lnTo>
                    <a:pt x="101892" y="4620792"/>
                  </a:lnTo>
                  <a:lnTo>
                    <a:pt x="148983" y="4628388"/>
                  </a:lnTo>
                  <a:lnTo>
                    <a:pt x="3540633" y="4628388"/>
                  </a:lnTo>
                  <a:lnTo>
                    <a:pt x="3587727" y="4620792"/>
                  </a:lnTo>
                  <a:lnTo>
                    <a:pt x="3628622" y="4599644"/>
                  </a:lnTo>
                  <a:lnTo>
                    <a:pt x="3660867" y="4567395"/>
                  </a:lnTo>
                  <a:lnTo>
                    <a:pt x="3682011" y="4526501"/>
                  </a:lnTo>
                  <a:lnTo>
                    <a:pt x="3689604" y="4479417"/>
                  </a:lnTo>
                  <a:lnTo>
                    <a:pt x="3689604" y="148971"/>
                  </a:lnTo>
                  <a:lnTo>
                    <a:pt x="3682011" y="101876"/>
                  </a:lnTo>
                  <a:lnTo>
                    <a:pt x="3660867" y="60981"/>
                  </a:lnTo>
                  <a:lnTo>
                    <a:pt x="3628622" y="28736"/>
                  </a:lnTo>
                  <a:lnTo>
                    <a:pt x="3587727" y="7592"/>
                  </a:lnTo>
                  <a:lnTo>
                    <a:pt x="35406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  <p:sp>
          <p:nvSpPr>
            <p:cNvPr id="7" name="object 6"/>
            <p:cNvSpPr/>
            <p:nvPr/>
          </p:nvSpPr>
          <p:spPr>
            <a:xfrm>
              <a:off x="224789" y="1105662"/>
              <a:ext cx="3689985" cy="4628515"/>
            </a:xfrm>
            <a:custGeom>
              <a:avLst/>
              <a:gdLst/>
              <a:ahLst/>
              <a:cxnLst/>
              <a:rect l="l" t="t" r="r" b="b"/>
              <a:pathLst>
                <a:path w="3689985" h="4628515">
                  <a:moveTo>
                    <a:pt x="0" y="148971"/>
                  </a:moveTo>
                  <a:lnTo>
                    <a:pt x="7595" y="101876"/>
                  </a:lnTo>
                  <a:lnTo>
                    <a:pt x="28744" y="60981"/>
                  </a:lnTo>
                  <a:lnTo>
                    <a:pt x="60995" y="28736"/>
                  </a:lnTo>
                  <a:lnTo>
                    <a:pt x="101892" y="7592"/>
                  </a:lnTo>
                  <a:lnTo>
                    <a:pt x="148983" y="0"/>
                  </a:lnTo>
                  <a:lnTo>
                    <a:pt x="3540633" y="0"/>
                  </a:lnTo>
                  <a:lnTo>
                    <a:pt x="3587727" y="7592"/>
                  </a:lnTo>
                  <a:lnTo>
                    <a:pt x="3628622" y="28736"/>
                  </a:lnTo>
                  <a:lnTo>
                    <a:pt x="3660867" y="60981"/>
                  </a:lnTo>
                  <a:lnTo>
                    <a:pt x="3682011" y="101876"/>
                  </a:lnTo>
                  <a:lnTo>
                    <a:pt x="3689604" y="148971"/>
                  </a:lnTo>
                  <a:lnTo>
                    <a:pt x="3689604" y="4479417"/>
                  </a:lnTo>
                  <a:lnTo>
                    <a:pt x="3682011" y="4526501"/>
                  </a:lnTo>
                  <a:lnTo>
                    <a:pt x="3660867" y="4567395"/>
                  </a:lnTo>
                  <a:lnTo>
                    <a:pt x="3628622" y="4599644"/>
                  </a:lnTo>
                  <a:lnTo>
                    <a:pt x="3587727" y="4620792"/>
                  </a:lnTo>
                  <a:lnTo>
                    <a:pt x="3540633" y="4628388"/>
                  </a:lnTo>
                  <a:lnTo>
                    <a:pt x="148983" y="4628388"/>
                  </a:lnTo>
                  <a:lnTo>
                    <a:pt x="101892" y="4620792"/>
                  </a:lnTo>
                  <a:lnTo>
                    <a:pt x="60995" y="4599644"/>
                  </a:lnTo>
                  <a:lnTo>
                    <a:pt x="28744" y="4567395"/>
                  </a:lnTo>
                  <a:lnTo>
                    <a:pt x="7595" y="4526501"/>
                  </a:lnTo>
                  <a:lnTo>
                    <a:pt x="0" y="4479417"/>
                  </a:lnTo>
                  <a:lnTo>
                    <a:pt x="0" y="148971"/>
                  </a:lnTo>
                  <a:close/>
                </a:path>
              </a:pathLst>
            </a:custGeom>
            <a:ln w="1905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  <p:sp>
          <p:nvSpPr>
            <p:cNvPr id="8" name="object 7"/>
            <p:cNvSpPr/>
            <p:nvPr/>
          </p:nvSpPr>
          <p:spPr>
            <a:xfrm>
              <a:off x="121157" y="890206"/>
              <a:ext cx="3914140" cy="5068570"/>
            </a:xfrm>
            <a:custGeom>
              <a:avLst/>
              <a:gdLst/>
              <a:ahLst/>
              <a:cxnLst/>
              <a:rect l="l" t="t" r="r" b="b"/>
              <a:pathLst>
                <a:path w="3914140" h="5068570">
                  <a:moveTo>
                    <a:pt x="3913759" y="5039868"/>
                  </a:moveTo>
                  <a:lnTo>
                    <a:pt x="0" y="5039868"/>
                  </a:lnTo>
                  <a:lnTo>
                    <a:pt x="0" y="5068443"/>
                  </a:lnTo>
                  <a:lnTo>
                    <a:pt x="3913759" y="5068443"/>
                  </a:lnTo>
                  <a:lnTo>
                    <a:pt x="3913759" y="5039868"/>
                  </a:lnTo>
                  <a:close/>
                </a:path>
                <a:path w="3914140" h="5068570">
                  <a:moveTo>
                    <a:pt x="3913759" y="0"/>
                  </a:moveTo>
                  <a:lnTo>
                    <a:pt x="0" y="0"/>
                  </a:lnTo>
                  <a:lnTo>
                    <a:pt x="0" y="28575"/>
                  </a:lnTo>
                  <a:lnTo>
                    <a:pt x="3913759" y="28575"/>
                  </a:lnTo>
                  <a:lnTo>
                    <a:pt x="3913759" y="0"/>
                  </a:lnTo>
                  <a:close/>
                </a:path>
              </a:pathLst>
            </a:custGeom>
            <a:solidFill>
              <a:srgbClr val="006FC0"/>
            </a:solidFill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</p:grpSp>
      <p:grpSp>
        <p:nvGrpSpPr>
          <p:cNvPr id="3" name="object 9"/>
          <p:cNvGrpSpPr/>
          <p:nvPr/>
        </p:nvGrpSpPr>
        <p:grpSpPr>
          <a:xfrm>
            <a:off x="3110103" y="667654"/>
            <a:ext cx="2936081" cy="3801428"/>
            <a:chOff x="4146803" y="890206"/>
            <a:chExt cx="3914775" cy="5068570"/>
          </a:xfrm>
        </p:grpSpPr>
        <p:pic>
          <p:nvPicPr>
            <p:cNvPr id="11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146803" y="905256"/>
              <a:ext cx="3913632" cy="5027676"/>
            </a:xfrm>
            <a:prstGeom prst="rect">
              <a:avLst/>
            </a:prstGeom>
          </p:spPr>
        </p:pic>
        <p:sp>
          <p:nvSpPr>
            <p:cNvPr id="12" name="object 11"/>
            <p:cNvSpPr/>
            <p:nvPr/>
          </p:nvSpPr>
          <p:spPr>
            <a:xfrm>
              <a:off x="4251197" y="1105662"/>
              <a:ext cx="3689985" cy="4628515"/>
            </a:xfrm>
            <a:custGeom>
              <a:avLst/>
              <a:gdLst/>
              <a:ahLst/>
              <a:cxnLst/>
              <a:rect l="l" t="t" r="r" b="b"/>
              <a:pathLst>
                <a:path w="3689984" h="4628515">
                  <a:moveTo>
                    <a:pt x="3540632" y="0"/>
                  </a:moveTo>
                  <a:lnTo>
                    <a:pt x="148971" y="0"/>
                  </a:lnTo>
                  <a:lnTo>
                    <a:pt x="101876" y="7592"/>
                  </a:lnTo>
                  <a:lnTo>
                    <a:pt x="60981" y="28736"/>
                  </a:lnTo>
                  <a:lnTo>
                    <a:pt x="28736" y="60981"/>
                  </a:lnTo>
                  <a:lnTo>
                    <a:pt x="7592" y="101876"/>
                  </a:lnTo>
                  <a:lnTo>
                    <a:pt x="0" y="148971"/>
                  </a:lnTo>
                  <a:lnTo>
                    <a:pt x="0" y="4479417"/>
                  </a:lnTo>
                  <a:lnTo>
                    <a:pt x="7592" y="4526501"/>
                  </a:lnTo>
                  <a:lnTo>
                    <a:pt x="28736" y="4567395"/>
                  </a:lnTo>
                  <a:lnTo>
                    <a:pt x="60981" y="4599644"/>
                  </a:lnTo>
                  <a:lnTo>
                    <a:pt x="101876" y="4620792"/>
                  </a:lnTo>
                  <a:lnTo>
                    <a:pt x="148971" y="4628388"/>
                  </a:lnTo>
                  <a:lnTo>
                    <a:pt x="3540632" y="4628388"/>
                  </a:lnTo>
                  <a:lnTo>
                    <a:pt x="3587727" y="4620792"/>
                  </a:lnTo>
                  <a:lnTo>
                    <a:pt x="3628622" y="4599644"/>
                  </a:lnTo>
                  <a:lnTo>
                    <a:pt x="3660867" y="4567395"/>
                  </a:lnTo>
                  <a:lnTo>
                    <a:pt x="3682011" y="4526501"/>
                  </a:lnTo>
                  <a:lnTo>
                    <a:pt x="3689604" y="4479417"/>
                  </a:lnTo>
                  <a:lnTo>
                    <a:pt x="3689604" y="148971"/>
                  </a:lnTo>
                  <a:lnTo>
                    <a:pt x="3682011" y="101876"/>
                  </a:lnTo>
                  <a:lnTo>
                    <a:pt x="3660867" y="60981"/>
                  </a:lnTo>
                  <a:lnTo>
                    <a:pt x="3628622" y="28736"/>
                  </a:lnTo>
                  <a:lnTo>
                    <a:pt x="3587727" y="7592"/>
                  </a:lnTo>
                  <a:lnTo>
                    <a:pt x="35406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  <p:sp>
          <p:nvSpPr>
            <p:cNvPr id="13" name="object 12"/>
            <p:cNvSpPr/>
            <p:nvPr/>
          </p:nvSpPr>
          <p:spPr>
            <a:xfrm>
              <a:off x="4251197" y="1105662"/>
              <a:ext cx="3689985" cy="4628515"/>
            </a:xfrm>
            <a:custGeom>
              <a:avLst/>
              <a:gdLst/>
              <a:ahLst/>
              <a:cxnLst/>
              <a:rect l="l" t="t" r="r" b="b"/>
              <a:pathLst>
                <a:path w="3689984" h="4628515">
                  <a:moveTo>
                    <a:pt x="0" y="148971"/>
                  </a:moveTo>
                  <a:lnTo>
                    <a:pt x="7592" y="101876"/>
                  </a:lnTo>
                  <a:lnTo>
                    <a:pt x="28736" y="60981"/>
                  </a:lnTo>
                  <a:lnTo>
                    <a:pt x="60981" y="28736"/>
                  </a:lnTo>
                  <a:lnTo>
                    <a:pt x="101876" y="7592"/>
                  </a:lnTo>
                  <a:lnTo>
                    <a:pt x="148971" y="0"/>
                  </a:lnTo>
                  <a:lnTo>
                    <a:pt x="3540632" y="0"/>
                  </a:lnTo>
                  <a:lnTo>
                    <a:pt x="3587727" y="7592"/>
                  </a:lnTo>
                  <a:lnTo>
                    <a:pt x="3628622" y="28736"/>
                  </a:lnTo>
                  <a:lnTo>
                    <a:pt x="3660867" y="60981"/>
                  </a:lnTo>
                  <a:lnTo>
                    <a:pt x="3682011" y="101876"/>
                  </a:lnTo>
                  <a:lnTo>
                    <a:pt x="3689604" y="148971"/>
                  </a:lnTo>
                  <a:lnTo>
                    <a:pt x="3689604" y="4479417"/>
                  </a:lnTo>
                  <a:lnTo>
                    <a:pt x="3682011" y="4526501"/>
                  </a:lnTo>
                  <a:lnTo>
                    <a:pt x="3660867" y="4567395"/>
                  </a:lnTo>
                  <a:lnTo>
                    <a:pt x="3628622" y="4599644"/>
                  </a:lnTo>
                  <a:lnTo>
                    <a:pt x="3587727" y="4620792"/>
                  </a:lnTo>
                  <a:lnTo>
                    <a:pt x="3540632" y="4628388"/>
                  </a:lnTo>
                  <a:lnTo>
                    <a:pt x="148971" y="4628388"/>
                  </a:lnTo>
                  <a:lnTo>
                    <a:pt x="101876" y="4620792"/>
                  </a:lnTo>
                  <a:lnTo>
                    <a:pt x="60981" y="4599644"/>
                  </a:lnTo>
                  <a:lnTo>
                    <a:pt x="28736" y="4567395"/>
                  </a:lnTo>
                  <a:lnTo>
                    <a:pt x="7592" y="4526501"/>
                  </a:lnTo>
                  <a:lnTo>
                    <a:pt x="0" y="4479417"/>
                  </a:lnTo>
                  <a:lnTo>
                    <a:pt x="0" y="148971"/>
                  </a:lnTo>
                  <a:close/>
                </a:path>
              </a:pathLst>
            </a:custGeom>
            <a:ln w="1905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  <p:sp>
          <p:nvSpPr>
            <p:cNvPr id="14" name="object 13"/>
            <p:cNvSpPr/>
            <p:nvPr/>
          </p:nvSpPr>
          <p:spPr>
            <a:xfrm>
              <a:off x="4147566" y="890206"/>
              <a:ext cx="3914140" cy="5068570"/>
            </a:xfrm>
            <a:custGeom>
              <a:avLst/>
              <a:gdLst/>
              <a:ahLst/>
              <a:cxnLst/>
              <a:rect l="l" t="t" r="r" b="b"/>
              <a:pathLst>
                <a:path w="3914140" h="5068570">
                  <a:moveTo>
                    <a:pt x="3913759" y="5039868"/>
                  </a:moveTo>
                  <a:lnTo>
                    <a:pt x="0" y="5039868"/>
                  </a:lnTo>
                  <a:lnTo>
                    <a:pt x="0" y="5068443"/>
                  </a:lnTo>
                  <a:lnTo>
                    <a:pt x="3913759" y="5068443"/>
                  </a:lnTo>
                  <a:lnTo>
                    <a:pt x="3913759" y="5039868"/>
                  </a:lnTo>
                  <a:close/>
                </a:path>
                <a:path w="3914140" h="5068570">
                  <a:moveTo>
                    <a:pt x="3913759" y="0"/>
                  </a:moveTo>
                  <a:lnTo>
                    <a:pt x="0" y="0"/>
                  </a:lnTo>
                  <a:lnTo>
                    <a:pt x="0" y="28575"/>
                  </a:lnTo>
                  <a:lnTo>
                    <a:pt x="3913759" y="28575"/>
                  </a:lnTo>
                  <a:lnTo>
                    <a:pt x="3913759" y="0"/>
                  </a:lnTo>
                  <a:close/>
                </a:path>
              </a:pathLst>
            </a:custGeom>
            <a:solidFill>
              <a:srgbClr val="006FC0"/>
            </a:solidFill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</p:grpSp>
      <p:sp>
        <p:nvSpPr>
          <p:cNvPr id="15" name="object 14"/>
          <p:cNvSpPr txBox="1"/>
          <p:nvPr/>
        </p:nvSpPr>
        <p:spPr>
          <a:xfrm>
            <a:off x="3295872" y="2874823"/>
            <a:ext cx="2550319" cy="1388522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85725" indent="3175" algn="ctr">
              <a:spcBef>
                <a:spcPts val="195"/>
              </a:spcBef>
              <a:buFont typeface="Wingdings"/>
              <a:buChar char=""/>
              <a:tabLst>
                <a:tab pos="722948" algn="l"/>
              </a:tabLst>
            </a:pPr>
            <a:r>
              <a:rPr lang="ru-RU" sz="1400" spc="-8" dirty="0" smtClean="0">
                <a:latin typeface="Nunito Sans"/>
                <a:cs typeface="Microsoft Sans Serif"/>
              </a:rPr>
              <a:t>Информация</a:t>
            </a:r>
            <a:r>
              <a:rPr lang="ru-RU" sz="1400" spc="-15" dirty="0" smtClean="0">
                <a:latin typeface="Nunito Sans"/>
                <a:cs typeface="Microsoft Sans Serif"/>
              </a:rPr>
              <a:t> по</a:t>
            </a:r>
            <a:endParaRPr lang="ru-RU" sz="1400" dirty="0" smtClean="0">
              <a:latin typeface="Nunito Sans"/>
              <a:cs typeface="Microsoft Sans Serif"/>
            </a:endParaRPr>
          </a:p>
          <a:p>
            <a:pPr marL="85725" indent="3175" algn="ctr">
              <a:spcBef>
                <a:spcPts val="116"/>
              </a:spcBef>
            </a:pPr>
            <a:r>
              <a:rPr lang="ru-RU" sz="1400" b="1" spc="-11" dirty="0" smtClean="0">
                <a:solidFill>
                  <a:srgbClr val="006FC0"/>
                </a:solidFill>
                <a:latin typeface="Nunito Sans"/>
                <a:cs typeface="Arial"/>
              </a:rPr>
              <a:t>предоставленным</a:t>
            </a:r>
            <a:r>
              <a:rPr lang="ru-RU" sz="1400" b="1" spc="23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b="1" spc="-4" dirty="0" smtClean="0">
                <a:solidFill>
                  <a:srgbClr val="006FC0"/>
                </a:solidFill>
                <a:latin typeface="Nunito Sans"/>
                <a:cs typeface="Arial"/>
              </a:rPr>
              <a:t>базам</a:t>
            </a:r>
            <a:endParaRPr lang="ru-RU" sz="1400" dirty="0" smtClean="0">
              <a:latin typeface="Nunito Sans"/>
              <a:cs typeface="Arial"/>
            </a:endParaRPr>
          </a:p>
          <a:p>
            <a:pPr marL="85725" marR="3810" indent="3175" algn="ctr">
              <a:lnSpc>
                <a:spcPct val="106700"/>
              </a:lnSpc>
              <a:spcBef>
                <a:spcPts val="11"/>
              </a:spcBef>
            </a:pPr>
            <a:r>
              <a:rPr lang="ru-RU" sz="1400" spc="-4" dirty="0" smtClean="0">
                <a:latin typeface="Nunito Sans"/>
                <a:cs typeface="Microsoft Sans Serif"/>
              </a:rPr>
              <a:t>данных</a:t>
            </a:r>
            <a:r>
              <a:rPr lang="ru-RU" sz="1400" spc="15" dirty="0" smtClean="0">
                <a:latin typeface="Nunito Sans"/>
                <a:cs typeface="Microsoft Sans Serif"/>
              </a:rPr>
              <a:t> </a:t>
            </a:r>
            <a:r>
              <a:rPr lang="ru-RU" sz="1400" dirty="0" smtClean="0">
                <a:latin typeface="Nunito Sans"/>
                <a:cs typeface="Microsoft Sans Serif"/>
              </a:rPr>
              <a:t>в </a:t>
            </a:r>
            <a:r>
              <a:rPr lang="ru-RU" sz="1400" spc="4" dirty="0" smtClean="0">
                <a:latin typeface="Nunito Sans"/>
                <a:cs typeface="Microsoft Sans Serif"/>
              </a:rPr>
              <a:t> </a:t>
            </a:r>
            <a:r>
              <a:rPr lang="ru-RU" sz="1400" spc="-8" dirty="0" err="1" smtClean="0">
                <a:latin typeface="Nunito Sans"/>
                <a:cs typeface="Microsoft Sans Serif"/>
              </a:rPr>
              <a:t>деидентифицированном</a:t>
            </a:r>
            <a:r>
              <a:rPr lang="ru-RU" sz="1400" spc="-8" dirty="0" smtClean="0">
                <a:latin typeface="Nunito Sans"/>
                <a:cs typeface="Microsoft Sans Serif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виде</a:t>
            </a:r>
            <a:r>
              <a:rPr lang="ru-RU" sz="1400" spc="-15" dirty="0" smtClean="0">
                <a:latin typeface="Nunito Sans"/>
                <a:cs typeface="Microsoft Sans Serif"/>
              </a:rPr>
              <a:t> </a:t>
            </a:r>
            <a:r>
              <a:rPr lang="ru-RU" sz="1400" dirty="0" smtClean="0">
                <a:latin typeface="Nunito Sans"/>
                <a:cs typeface="Microsoft Sans Serif"/>
              </a:rPr>
              <a:t>в </a:t>
            </a:r>
            <a:r>
              <a:rPr lang="ru-RU" sz="1400" spc="-11" dirty="0" smtClean="0">
                <a:latin typeface="Nunito Sans"/>
                <a:cs typeface="Microsoft Sans Serif"/>
              </a:rPr>
              <a:t>научных</a:t>
            </a:r>
            <a:r>
              <a:rPr lang="ru-RU" sz="1400" spc="15" dirty="0" smtClean="0">
                <a:latin typeface="Nunito Sans"/>
                <a:cs typeface="Microsoft Sans Serif"/>
              </a:rPr>
              <a:t> </a:t>
            </a:r>
            <a:r>
              <a:rPr lang="ru-RU" sz="1400" spc="-15" dirty="0" smtClean="0">
                <a:latin typeface="Nunito Sans"/>
                <a:cs typeface="Microsoft Sans Serif"/>
              </a:rPr>
              <a:t>целях</a:t>
            </a:r>
            <a:endParaRPr lang="ru-RU" sz="1400" dirty="0" smtClean="0">
              <a:latin typeface="Nunito Sans"/>
              <a:cs typeface="Microsoft Sans Serif"/>
            </a:endParaRPr>
          </a:p>
          <a:p>
            <a:pPr marL="685800">
              <a:spcBef>
                <a:spcPts val="116"/>
              </a:spcBef>
            </a:pPr>
            <a:endParaRPr sz="1400">
              <a:latin typeface="Nunito Sans"/>
              <a:cs typeface="Microsoft Sans Serif"/>
            </a:endParaRPr>
          </a:p>
        </p:txBody>
      </p:sp>
      <p:grpSp>
        <p:nvGrpSpPr>
          <p:cNvPr id="4" name="object 15"/>
          <p:cNvGrpSpPr/>
          <p:nvPr/>
        </p:nvGrpSpPr>
        <p:grpSpPr>
          <a:xfrm>
            <a:off x="6129909" y="667654"/>
            <a:ext cx="2936081" cy="3801428"/>
            <a:chOff x="8173211" y="890206"/>
            <a:chExt cx="3914775" cy="5068570"/>
          </a:xfrm>
        </p:grpSpPr>
        <p:pic>
          <p:nvPicPr>
            <p:cNvPr id="17" name="object 1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173211" y="905256"/>
              <a:ext cx="3913632" cy="5027676"/>
            </a:xfrm>
            <a:prstGeom prst="rect">
              <a:avLst/>
            </a:prstGeom>
          </p:spPr>
        </p:pic>
        <p:sp>
          <p:nvSpPr>
            <p:cNvPr id="18" name="object 17"/>
            <p:cNvSpPr/>
            <p:nvPr/>
          </p:nvSpPr>
          <p:spPr>
            <a:xfrm>
              <a:off x="8277605" y="1105662"/>
              <a:ext cx="3688079" cy="4628515"/>
            </a:xfrm>
            <a:custGeom>
              <a:avLst/>
              <a:gdLst/>
              <a:ahLst/>
              <a:cxnLst/>
              <a:rect l="l" t="t" r="r" b="b"/>
              <a:pathLst>
                <a:path w="3688079" h="4628515">
                  <a:moveTo>
                    <a:pt x="3539109" y="0"/>
                  </a:moveTo>
                  <a:lnTo>
                    <a:pt x="148971" y="0"/>
                  </a:lnTo>
                  <a:lnTo>
                    <a:pt x="101876" y="7592"/>
                  </a:lnTo>
                  <a:lnTo>
                    <a:pt x="60981" y="28736"/>
                  </a:lnTo>
                  <a:lnTo>
                    <a:pt x="28736" y="60981"/>
                  </a:lnTo>
                  <a:lnTo>
                    <a:pt x="7592" y="101876"/>
                  </a:lnTo>
                  <a:lnTo>
                    <a:pt x="0" y="148971"/>
                  </a:lnTo>
                  <a:lnTo>
                    <a:pt x="0" y="4479417"/>
                  </a:lnTo>
                  <a:lnTo>
                    <a:pt x="7592" y="4526511"/>
                  </a:lnTo>
                  <a:lnTo>
                    <a:pt x="28736" y="4567406"/>
                  </a:lnTo>
                  <a:lnTo>
                    <a:pt x="60981" y="4599651"/>
                  </a:lnTo>
                  <a:lnTo>
                    <a:pt x="101876" y="4620795"/>
                  </a:lnTo>
                  <a:lnTo>
                    <a:pt x="148971" y="4628388"/>
                  </a:lnTo>
                  <a:lnTo>
                    <a:pt x="3539109" y="4628388"/>
                  </a:lnTo>
                  <a:lnTo>
                    <a:pt x="3586203" y="4620795"/>
                  </a:lnTo>
                  <a:lnTo>
                    <a:pt x="3627098" y="4599651"/>
                  </a:lnTo>
                  <a:lnTo>
                    <a:pt x="3659343" y="4567406"/>
                  </a:lnTo>
                  <a:lnTo>
                    <a:pt x="3680487" y="4526511"/>
                  </a:lnTo>
                  <a:lnTo>
                    <a:pt x="3688079" y="4479417"/>
                  </a:lnTo>
                  <a:lnTo>
                    <a:pt x="3688079" y="148971"/>
                  </a:lnTo>
                  <a:lnTo>
                    <a:pt x="3680487" y="101876"/>
                  </a:lnTo>
                  <a:lnTo>
                    <a:pt x="3659343" y="60981"/>
                  </a:lnTo>
                  <a:lnTo>
                    <a:pt x="3627098" y="28736"/>
                  </a:lnTo>
                  <a:lnTo>
                    <a:pt x="3586203" y="7592"/>
                  </a:lnTo>
                  <a:lnTo>
                    <a:pt x="35391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  <p:sp>
          <p:nvSpPr>
            <p:cNvPr id="19" name="object 18"/>
            <p:cNvSpPr/>
            <p:nvPr/>
          </p:nvSpPr>
          <p:spPr>
            <a:xfrm>
              <a:off x="8277605" y="1105662"/>
              <a:ext cx="3688079" cy="4628515"/>
            </a:xfrm>
            <a:custGeom>
              <a:avLst/>
              <a:gdLst/>
              <a:ahLst/>
              <a:cxnLst/>
              <a:rect l="l" t="t" r="r" b="b"/>
              <a:pathLst>
                <a:path w="3688079" h="4628515">
                  <a:moveTo>
                    <a:pt x="0" y="148971"/>
                  </a:moveTo>
                  <a:lnTo>
                    <a:pt x="7592" y="101876"/>
                  </a:lnTo>
                  <a:lnTo>
                    <a:pt x="28736" y="60981"/>
                  </a:lnTo>
                  <a:lnTo>
                    <a:pt x="60981" y="28736"/>
                  </a:lnTo>
                  <a:lnTo>
                    <a:pt x="101876" y="7592"/>
                  </a:lnTo>
                  <a:lnTo>
                    <a:pt x="148971" y="0"/>
                  </a:lnTo>
                  <a:lnTo>
                    <a:pt x="3539109" y="0"/>
                  </a:lnTo>
                  <a:lnTo>
                    <a:pt x="3586203" y="7592"/>
                  </a:lnTo>
                  <a:lnTo>
                    <a:pt x="3627098" y="28736"/>
                  </a:lnTo>
                  <a:lnTo>
                    <a:pt x="3659343" y="60981"/>
                  </a:lnTo>
                  <a:lnTo>
                    <a:pt x="3680487" y="101876"/>
                  </a:lnTo>
                  <a:lnTo>
                    <a:pt x="3688079" y="148971"/>
                  </a:lnTo>
                  <a:lnTo>
                    <a:pt x="3688079" y="4479417"/>
                  </a:lnTo>
                  <a:lnTo>
                    <a:pt x="3680487" y="4526511"/>
                  </a:lnTo>
                  <a:lnTo>
                    <a:pt x="3659343" y="4567406"/>
                  </a:lnTo>
                  <a:lnTo>
                    <a:pt x="3627098" y="4599651"/>
                  </a:lnTo>
                  <a:lnTo>
                    <a:pt x="3586203" y="4620795"/>
                  </a:lnTo>
                  <a:lnTo>
                    <a:pt x="3539109" y="4628388"/>
                  </a:lnTo>
                  <a:lnTo>
                    <a:pt x="148971" y="4628388"/>
                  </a:lnTo>
                  <a:lnTo>
                    <a:pt x="101876" y="4620795"/>
                  </a:lnTo>
                  <a:lnTo>
                    <a:pt x="60981" y="4599651"/>
                  </a:lnTo>
                  <a:lnTo>
                    <a:pt x="28736" y="4567406"/>
                  </a:lnTo>
                  <a:lnTo>
                    <a:pt x="7592" y="4526511"/>
                  </a:lnTo>
                  <a:lnTo>
                    <a:pt x="0" y="4479417"/>
                  </a:lnTo>
                  <a:lnTo>
                    <a:pt x="0" y="148971"/>
                  </a:lnTo>
                  <a:close/>
                </a:path>
              </a:pathLst>
            </a:custGeom>
            <a:ln w="1905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  <p:sp>
          <p:nvSpPr>
            <p:cNvPr id="20" name="object 19"/>
            <p:cNvSpPr/>
            <p:nvPr/>
          </p:nvSpPr>
          <p:spPr>
            <a:xfrm>
              <a:off x="8173974" y="890206"/>
              <a:ext cx="3914140" cy="5068570"/>
            </a:xfrm>
            <a:custGeom>
              <a:avLst/>
              <a:gdLst/>
              <a:ahLst/>
              <a:cxnLst/>
              <a:rect l="l" t="t" r="r" b="b"/>
              <a:pathLst>
                <a:path w="3914140" h="5068570">
                  <a:moveTo>
                    <a:pt x="3913759" y="5039868"/>
                  </a:moveTo>
                  <a:lnTo>
                    <a:pt x="0" y="5039868"/>
                  </a:lnTo>
                  <a:lnTo>
                    <a:pt x="0" y="5068443"/>
                  </a:lnTo>
                  <a:lnTo>
                    <a:pt x="3913759" y="5068443"/>
                  </a:lnTo>
                  <a:lnTo>
                    <a:pt x="3913759" y="5039868"/>
                  </a:lnTo>
                  <a:close/>
                </a:path>
                <a:path w="3914140" h="5068570">
                  <a:moveTo>
                    <a:pt x="3913759" y="0"/>
                  </a:moveTo>
                  <a:lnTo>
                    <a:pt x="0" y="0"/>
                  </a:lnTo>
                  <a:lnTo>
                    <a:pt x="0" y="28575"/>
                  </a:lnTo>
                  <a:lnTo>
                    <a:pt x="3913759" y="28575"/>
                  </a:lnTo>
                  <a:lnTo>
                    <a:pt x="3913759" y="0"/>
                  </a:lnTo>
                  <a:close/>
                </a:path>
              </a:pathLst>
            </a:custGeom>
            <a:solidFill>
              <a:srgbClr val="006FC0"/>
            </a:solidFill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</p:grpSp>
      <p:sp>
        <p:nvSpPr>
          <p:cNvPr id="21" name="object 20"/>
          <p:cNvSpPr txBox="1"/>
          <p:nvPr/>
        </p:nvSpPr>
        <p:spPr>
          <a:xfrm>
            <a:off x="6296596" y="2996565"/>
            <a:ext cx="2576036" cy="1172596"/>
          </a:xfrm>
          <a:prstGeom prst="rect">
            <a:avLst/>
          </a:prstGeom>
        </p:spPr>
        <p:txBody>
          <a:bodyPr vert="horz" wrap="square" lIns="0" tIns="24288" rIns="0" bIns="0" rtlCol="0">
            <a:spAutoFit/>
          </a:bodyPr>
          <a:lstStyle/>
          <a:p>
            <a:pPr marL="390049" indent="-183356">
              <a:spcBef>
                <a:spcPts val="191"/>
              </a:spcBef>
              <a:buClr>
                <a:srgbClr val="000000"/>
              </a:buClr>
              <a:buFont typeface="Wingdings"/>
              <a:buChar char=""/>
              <a:tabLst>
                <a:tab pos="390525" algn="l"/>
              </a:tabLst>
            </a:pPr>
            <a:r>
              <a:rPr lang="ru-RU" sz="1400" b="1" spc="-23" dirty="0" smtClean="0">
                <a:solidFill>
                  <a:srgbClr val="006FC0"/>
                </a:solidFill>
                <a:latin typeface="Nunito Sans"/>
                <a:cs typeface="Arial"/>
              </a:rPr>
              <a:t>Темы</a:t>
            </a:r>
            <a:r>
              <a:rPr lang="ru-RU" sz="1400" b="1" spc="-15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b="1" spc="-4" dirty="0" smtClean="0">
                <a:solidFill>
                  <a:srgbClr val="006FC0"/>
                </a:solidFill>
                <a:latin typeface="Nunito Sans"/>
                <a:cs typeface="Arial"/>
              </a:rPr>
              <a:t>НИР</a:t>
            </a:r>
            <a:r>
              <a:rPr lang="ru-RU" sz="1400" b="1" spc="-15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b="1" dirty="0" smtClean="0">
                <a:solidFill>
                  <a:srgbClr val="006FC0"/>
                </a:solidFill>
                <a:latin typeface="Nunito Sans"/>
                <a:cs typeface="Arial"/>
              </a:rPr>
              <a:t>для</a:t>
            </a:r>
            <a:r>
              <a:rPr lang="ru-RU" sz="1400" b="1" spc="-11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b="1" spc="-15" dirty="0" smtClean="0">
                <a:solidFill>
                  <a:srgbClr val="006FC0"/>
                </a:solidFill>
                <a:latin typeface="Nunito Sans"/>
                <a:cs typeface="Arial"/>
              </a:rPr>
              <a:t>ВУЗов</a:t>
            </a:r>
            <a:r>
              <a:rPr lang="ru-RU" sz="1400" b="1" spc="-4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b="1" dirty="0" smtClean="0">
                <a:solidFill>
                  <a:srgbClr val="006FC0"/>
                </a:solidFill>
                <a:latin typeface="Nunito Sans"/>
                <a:cs typeface="Arial"/>
              </a:rPr>
              <a:t>и</a:t>
            </a:r>
            <a:endParaRPr lang="ru-RU" sz="1400" dirty="0" smtClean="0">
              <a:latin typeface="Nunito Sans"/>
              <a:cs typeface="Arial"/>
            </a:endParaRPr>
          </a:p>
          <a:p>
            <a:pPr marL="9525" marR="3810" algn="ctr">
              <a:lnSpc>
                <a:spcPct val="106900"/>
              </a:lnSpc>
              <a:spcBef>
                <a:spcPts val="4"/>
              </a:spcBef>
            </a:pPr>
            <a:r>
              <a:rPr lang="ru-RU" sz="1400" spc="-23" dirty="0" smtClean="0">
                <a:latin typeface="Nunito Sans"/>
                <a:cs typeface="Microsoft Sans Serif"/>
              </a:rPr>
              <a:t>контакты</a:t>
            </a:r>
            <a:r>
              <a:rPr lang="ru-RU" sz="1400" spc="8" dirty="0" smtClean="0">
                <a:latin typeface="Nunito Sans"/>
                <a:cs typeface="Microsoft Sans Serif"/>
              </a:rPr>
              <a:t> </a:t>
            </a:r>
            <a:r>
              <a:rPr lang="ru-RU" sz="1400" spc="-15" dirty="0" smtClean="0">
                <a:latin typeface="Nunito Sans"/>
                <a:cs typeface="Microsoft Sans Serif"/>
              </a:rPr>
              <a:t>ответственных </a:t>
            </a:r>
            <a:r>
              <a:rPr lang="ru-RU" sz="1400" spc="-11" dirty="0" smtClean="0">
                <a:latin typeface="Nunito Sans"/>
                <a:cs typeface="Microsoft Sans Serif"/>
              </a:rPr>
              <a:t> </a:t>
            </a:r>
            <a:r>
              <a:rPr lang="ru-RU" sz="1400" spc="-19" dirty="0" smtClean="0">
                <a:latin typeface="Nunito Sans"/>
                <a:cs typeface="Microsoft Sans Serif"/>
              </a:rPr>
              <a:t>сотрудников</a:t>
            </a:r>
            <a:r>
              <a:rPr lang="ru-RU" sz="1400" spc="15" dirty="0" smtClean="0">
                <a:latin typeface="Nunito Sans"/>
                <a:cs typeface="Microsoft Sans Serif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БНС</a:t>
            </a:r>
            <a:r>
              <a:rPr lang="ru-RU" sz="1400" spc="19" dirty="0" smtClean="0">
                <a:latin typeface="Nunito Sans"/>
                <a:cs typeface="Microsoft Sans Serif"/>
              </a:rPr>
              <a:t> </a:t>
            </a:r>
            <a:r>
              <a:rPr lang="ru-RU" sz="1400" spc="4" dirty="0" smtClean="0">
                <a:latin typeface="Nunito Sans"/>
                <a:cs typeface="Microsoft Sans Serif"/>
              </a:rPr>
              <a:t>для</a:t>
            </a:r>
            <a:r>
              <a:rPr lang="ru-RU" sz="1400" spc="11" dirty="0" smtClean="0">
                <a:latin typeface="Nunito Sans"/>
                <a:cs typeface="Microsoft Sans Serif"/>
              </a:rPr>
              <a:t> </a:t>
            </a:r>
            <a:r>
              <a:rPr lang="ru-RU" sz="1400" b="1" spc="-8" dirty="0" smtClean="0">
                <a:solidFill>
                  <a:srgbClr val="006FC0"/>
                </a:solidFill>
                <a:latin typeface="Nunito Sans"/>
                <a:cs typeface="Arial"/>
              </a:rPr>
              <a:t>научного </a:t>
            </a:r>
            <a:r>
              <a:rPr lang="ru-RU" sz="1400" b="1" spc="-363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b="1" spc="-15" dirty="0" smtClean="0">
                <a:solidFill>
                  <a:srgbClr val="006FC0"/>
                </a:solidFill>
                <a:latin typeface="Nunito Sans"/>
                <a:cs typeface="Arial"/>
              </a:rPr>
              <a:t>сотрудничества</a:t>
            </a:r>
            <a:endParaRPr lang="ru-RU" sz="1400" dirty="0" smtClean="0">
              <a:latin typeface="Nunito Sans"/>
              <a:cs typeface="Arial"/>
            </a:endParaRPr>
          </a:p>
          <a:p>
            <a:pPr marL="390049" indent="-183356">
              <a:spcBef>
                <a:spcPts val="191"/>
              </a:spcBef>
              <a:buClr>
                <a:srgbClr val="000000"/>
              </a:buClr>
              <a:buFont typeface="Wingdings"/>
              <a:buChar char=""/>
              <a:tabLst>
                <a:tab pos="390525" algn="l"/>
              </a:tabLst>
            </a:pPr>
            <a:endParaRPr sz="1400">
              <a:latin typeface="Nunito Sans"/>
              <a:cs typeface="Arial"/>
            </a:endParaRPr>
          </a:p>
        </p:txBody>
      </p:sp>
      <p:grpSp>
        <p:nvGrpSpPr>
          <p:cNvPr id="9" name="object 21"/>
          <p:cNvGrpSpPr/>
          <p:nvPr/>
        </p:nvGrpSpPr>
        <p:grpSpPr>
          <a:xfrm>
            <a:off x="3072384" y="1060450"/>
            <a:ext cx="2998946" cy="1865059"/>
            <a:chOff x="4096511" y="1542288"/>
            <a:chExt cx="3998595" cy="2358390"/>
          </a:xfrm>
        </p:grpSpPr>
        <p:pic>
          <p:nvPicPr>
            <p:cNvPr id="23" name="object 2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096511" y="1542288"/>
              <a:ext cx="3998214" cy="2358390"/>
            </a:xfrm>
            <a:prstGeom prst="rect">
              <a:avLst/>
            </a:prstGeom>
          </p:spPr>
        </p:pic>
        <p:pic>
          <p:nvPicPr>
            <p:cNvPr id="24" name="object 2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440935" y="1886712"/>
              <a:ext cx="3325367" cy="1685544"/>
            </a:xfrm>
            <a:prstGeom prst="rect">
              <a:avLst/>
            </a:prstGeom>
          </p:spPr>
        </p:pic>
        <p:sp>
          <p:nvSpPr>
            <p:cNvPr id="25" name="object 24"/>
            <p:cNvSpPr/>
            <p:nvPr/>
          </p:nvSpPr>
          <p:spPr>
            <a:xfrm>
              <a:off x="4396485" y="1842262"/>
              <a:ext cx="3414395" cy="1774825"/>
            </a:xfrm>
            <a:custGeom>
              <a:avLst/>
              <a:gdLst/>
              <a:ahLst/>
              <a:cxnLst/>
              <a:rect l="l" t="t" r="r" b="b"/>
              <a:pathLst>
                <a:path w="3414395" h="1774825">
                  <a:moveTo>
                    <a:pt x="0" y="1774444"/>
                  </a:moveTo>
                  <a:lnTo>
                    <a:pt x="3414267" y="1774444"/>
                  </a:lnTo>
                  <a:lnTo>
                    <a:pt x="3414267" y="0"/>
                  </a:lnTo>
                  <a:lnTo>
                    <a:pt x="0" y="0"/>
                  </a:lnTo>
                  <a:lnTo>
                    <a:pt x="0" y="1774444"/>
                  </a:lnTo>
                  <a:close/>
                </a:path>
              </a:pathLst>
            </a:custGeom>
            <a:ln w="889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</p:grpSp>
      <p:sp>
        <p:nvSpPr>
          <p:cNvPr id="26" name="object 25"/>
          <p:cNvSpPr txBox="1"/>
          <p:nvPr/>
        </p:nvSpPr>
        <p:spPr>
          <a:xfrm>
            <a:off x="819150" y="4644314"/>
            <a:ext cx="7544054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ru-RU" sz="1200" spc="-11" dirty="0" smtClean="0">
                <a:latin typeface="Nunito Sans"/>
                <a:cs typeface="Microsoft Sans Serif"/>
              </a:rPr>
              <a:t>Информация</a:t>
            </a:r>
            <a:r>
              <a:rPr lang="ru-RU" sz="1200" spc="23" dirty="0" smtClean="0">
                <a:latin typeface="Nunito Sans"/>
                <a:cs typeface="Microsoft Sans Serif"/>
              </a:rPr>
              <a:t> </a:t>
            </a:r>
            <a:r>
              <a:rPr lang="ru-RU" sz="1200" spc="4" dirty="0" smtClean="0">
                <a:latin typeface="Nunito Sans"/>
                <a:cs typeface="Microsoft Sans Serif"/>
              </a:rPr>
              <a:t>для</a:t>
            </a:r>
            <a:r>
              <a:rPr lang="ru-RU" sz="1200" spc="19" dirty="0" smtClean="0">
                <a:latin typeface="Nunito Sans"/>
                <a:cs typeface="Microsoft Sans Serif"/>
              </a:rPr>
              <a:t> </a:t>
            </a:r>
            <a:r>
              <a:rPr lang="ru-RU" sz="1200" spc="-11" dirty="0" smtClean="0">
                <a:latin typeface="Nunito Sans"/>
                <a:cs typeface="Microsoft Sans Serif"/>
              </a:rPr>
              <a:t>исследователей</a:t>
            </a:r>
            <a:r>
              <a:rPr lang="ru-RU" sz="1200" spc="19" dirty="0" smtClean="0">
                <a:latin typeface="Nunito Sans"/>
                <a:cs typeface="Microsoft Sans Serif"/>
              </a:rPr>
              <a:t> </a:t>
            </a:r>
            <a:r>
              <a:rPr lang="ru-RU" sz="1200" spc="-8" dirty="0" smtClean="0">
                <a:latin typeface="Nunito Sans"/>
                <a:cs typeface="Microsoft Sans Serif"/>
              </a:rPr>
              <a:t>доступна</a:t>
            </a:r>
            <a:r>
              <a:rPr lang="ru-RU" sz="1200" spc="45" dirty="0" smtClean="0">
                <a:latin typeface="Nunito Sans"/>
                <a:cs typeface="Microsoft Sans Serif"/>
              </a:rPr>
              <a:t> </a:t>
            </a:r>
            <a:r>
              <a:rPr lang="ru-RU" sz="1200" spc="-11" dirty="0" smtClean="0">
                <a:latin typeface="Nunito Sans"/>
                <a:cs typeface="Microsoft Sans Serif"/>
              </a:rPr>
              <a:t>по</a:t>
            </a:r>
            <a:r>
              <a:rPr lang="ru-RU" sz="1200" spc="19" dirty="0" smtClean="0">
                <a:latin typeface="Nunito Sans"/>
                <a:cs typeface="Microsoft Sans Serif"/>
              </a:rPr>
              <a:t> </a:t>
            </a:r>
            <a:r>
              <a:rPr lang="ru-RU" sz="1200" spc="-11" dirty="0" smtClean="0">
                <a:latin typeface="Nunito Sans"/>
                <a:cs typeface="Microsoft Sans Serif"/>
              </a:rPr>
              <a:t>ссылке</a:t>
            </a:r>
            <a:r>
              <a:rPr lang="ru-RU" sz="1200" spc="30" dirty="0" smtClean="0">
                <a:latin typeface="Nunito Sans"/>
                <a:cs typeface="Microsoft Sans Serif"/>
              </a:rPr>
              <a:t> </a:t>
            </a:r>
            <a:r>
              <a:rPr lang="ru-RU" sz="1100" b="1" u="heavy" spc="-4" dirty="0" err="1" smtClean="0">
                <a:solidFill>
                  <a:srgbClr val="006FC0"/>
                </a:solidFill>
                <a:uFill>
                  <a:solidFill>
                    <a:srgbClr val="006FC0"/>
                  </a:solidFill>
                </a:uFill>
                <a:latin typeface="Nunito Sans"/>
                <a:cs typeface="Arial"/>
              </a:rPr>
              <a:t>stat.gov.kz</a:t>
            </a:r>
            <a:r>
              <a:rPr lang="ru-RU" sz="1100" b="1" u="heavy" spc="-4" dirty="0" smtClean="0">
                <a:solidFill>
                  <a:srgbClr val="006FC0"/>
                </a:solidFill>
                <a:uFill>
                  <a:solidFill>
                    <a:srgbClr val="006FC0"/>
                  </a:solidFill>
                </a:uFill>
                <a:latin typeface="Nunito Sans"/>
                <a:cs typeface="Arial"/>
              </a:rPr>
              <a:t>/</a:t>
            </a:r>
            <a:r>
              <a:rPr lang="ru-RU" sz="1100" b="1" u="heavy" spc="-4" dirty="0" err="1" smtClean="0">
                <a:solidFill>
                  <a:srgbClr val="006FC0"/>
                </a:solidFill>
                <a:uFill>
                  <a:solidFill>
                    <a:srgbClr val="006FC0"/>
                  </a:solidFill>
                </a:uFill>
                <a:latin typeface="Nunito Sans"/>
                <a:cs typeface="Arial"/>
              </a:rPr>
              <a:t>ru</a:t>
            </a:r>
            <a:r>
              <a:rPr lang="ru-RU" sz="1100" b="1" u="heavy" spc="-4" dirty="0" smtClean="0">
                <a:solidFill>
                  <a:srgbClr val="006FC0"/>
                </a:solidFill>
                <a:uFill>
                  <a:solidFill>
                    <a:srgbClr val="006FC0"/>
                  </a:solidFill>
                </a:uFill>
                <a:latin typeface="Nunito Sans"/>
                <a:cs typeface="Arial"/>
              </a:rPr>
              <a:t>/</a:t>
            </a:r>
            <a:r>
              <a:rPr lang="ru-RU" sz="1100" b="1" u="heavy" spc="-4" dirty="0" err="1" smtClean="0">
                <a:solidFill>
                  <a:srgbClr val="006FC0"/>
                </a:solidFill>
                <a:uFill>
                  <a:solidFill>
                    <a:srgbClr val="006FC0"/>
                  </a:solidFill>
                </a:uFill>
                <a:latin typeface="Nunito Sans"/>
                <a:cs typeface="Arial"/>
              </a:rPr>
              <a:t>research-activities</a:t>
            </a:r>
            <a:r>
              <a:rPr lang="ru-RU" sz="1100" b="1" u="heavy" spc="-4" dirty="0" smtClean="0">
                <a:solidFill>
                  <a:srgbClr val="006FC0"/>
                </a:solidFill>
                <a:uFill>
                  <a:solidFill>
                    <a:srgbClr val="006FC0"/>
                  </a:solidFill>
                </a:uFill>
                <a:latin typeface="Nunito Sans"/>
                <a:cs typeface="Arial"/>
              </a:rPr>
              <a:t>/</a:t>
            </a:r>
            <a:r>
              <a:rPr lang="ru-RU" sz="1100" b="1" u="heavy" spc="-4" dirty="0" err="1" smtClean="0">
                <a:solidFill>
                  <a:srgbClr val="006FC0"/>
                </a:solidFill>
                <a:uFill>
                  <a:solidFill>
                    <a:srgbClr val="006FC0"/>
                  </a:solidFill>
                </a:uFill>
                <a:latin typeface="Nunito Sans"/>
                <a:cs typeface="Arial"/>
              </a:rPr>
              <a:t>nir</a:t>
            </a:r>
            <a:r>
              <a:rPr lang="ru-RU" sz="1100" b="1" u="heavy" spc="-4" dirty="0" smtClean="0">
                <a:solidFill>
                  <a:srgbClr val="006FC0"/>
                </a:solidFill>
                <a:uFill>
                  <a:solidFill>
                    <a:srgbClr val="006FC0"/>
                  </a:solidFill>
                </a:uFill>
                <a:latin typeface="Nunito Sans"/>
                <a:cs typeface="Arial"/>
              </a:rPr>
              <a:t>/</a:t>
            </a:r>
            <a:endParaRPr sz="1200">
              <a:latin typeface="Nunito Sans"/>
              <a:cs typeface="Arial"/>
            </a:endParaRPr>
          </a:p>
        </p:txBody>
      </p:sp>
      <p:grpSp>
        <p:nvGrpSpPr>
          <p:cNvPr id="10" name="object 26"/>
          <p:cNvGrpSpPr/>
          <p:nvPr/>
        </p:nvGrpSpPr>
        <p:grpSpPr>
          <a:xfrm>
            <a:off x="6115050" y="1066800"/>
            <a:ext cx="2951797" cy="1866900"/>
            <a:chOff x="8153400" y="1542288"/>
            <a:chExt cx="3935729" cy="2279650"/>
          </a:xfrm>
        </p:grpSpPr>
        <p:pic>
          <p:nvPicPr>
            <p:cNvPr id="28" name="object 2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53400" y="1542288"/>
              <a:ext cx="3935729" cy="2279142"/>
            </a:xfrm>
            <a:prstGeom prst="rect">
              <a:avLst/>
            </a:prstGeom>
          </p:spPr>
        </p:pic>
        <p:pic>
          <p:nvPicPr>
            <p:cNvPr id="29" name="object 2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497824" y="1886712"/>
              <a:ext cx="3262883" cy="1606296"/>
            </a:xfrm>
            <a:prstGeom prst="rect">
              <a:avLst/>
            </a:prstGeom>
          </p:spPr>
        </p:pic>
        <p:sp>
          <p:nvSpPr>
            <p:cNvPr id="30" name="object 29"/>
            <p:cNvSpPr/>
            <p:nvPr/>
          </p:nvSpPr>
          <p:spPr>
            <a:xfrm>
              <a:off x="8453374" y="1842262"/>
              <a:ext cx="3352165" cy="1695450"/>
            </a:xfrm>
            <a:custGeom>
              <a:avLst/>
              <a:gdLst/>
              <a:ahLst/>
              <a:cxnLst/>
              <a:rect l="l" t="t" r="r" b="b"/>
              <a:pathLst>
                <a:path w="3352165" h="1695450">
                  <a:moveTo>
                    <a:pt x="0" y="1695195"/>
                  </a:moveTo>
                  <a:lnTo>
                    <a:pt x="3351783" y="1695195"/>
                  </a:lnTo>
                  <a:lnTo>
                    <a:pt x="3351783" y="0"/>
                  </a:lnTo>
                  <a:lnTo>
                    <a:pt x="0" y="0"/>
                  </a:lnTo>
                  <a:lnTo>
                    <a:pt x="0" y="1695195"/>
                  </a:lnTo>
                  <a:close/>
                </a:path>
              </a:pathLst>
            </a:custGeom>
            <a:ln w="889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</p:grpSp>
      <p:grpSp>
        <p:nvGrpSpPr>
          <p:cNvPr id="16" name="object 30"/>
          <p:cNvGrpSpPr/>
          <p:nvPr/>
        </p:nvGrpSpPr>
        <p:grpSpPr>
          <a:xfrm>
            <a:off x="88901" y="1062504"/>
            <a:ext cx="2959100" cy="1833086"/>
            <a:chOff x="79247" y="1456944"/>
            <a:chExt cx="3963670" cy="2444115"/>
          </a:xfrm>
        </p:grpSpPr>
        <p:pic>
          <p:nvPicPr>
            <p:cNvPr id="32" name="object 3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9247" y="1456944"/>
              <a:ext cx="3963162" cy="2443733"/>
            </a:xfrm>
            <a:prstGeom prst="rect">
              <a:avLst/>
            </a:prstGeom>
          </p:spPr>
        </p:pic>
        <p:pic>
          <p:nvPicPr>
            <p:cNvPr id="33" name="object 3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23672" y="1801368"/>
              <a:ext cx="3290316" cy="1770888"/>
            </a:xfrm>
            <a:prstGeom prst="rect">
              <a:avLst/>
            </a:prstGeom>
          </p:spPr>
        </p:pic>
        <p:sp>
          <p:nvSpPr>
            <p:cNvPr id="34" name="object 33"/>
            <p:cNvSpPr/>
            <p:nvPr/>
          </p:nvSpPr>
          <p:spPr>
            <a:xfrm>
              <a:off x="379222" y="1756918"/>
              <a:ext cx="3379470" cy="1859914"/>
            </a:xfrm>
            <a:custGeom>
              <a:avLst/>
              <a:gdLst/>
              <a:ahLst/>
              <a:cxnLst/>
              <a:rect l="l" t="t" r="r" b="b"/>
              <a:pathLst>
                <a:path w="3379470" h="1859914">
                  <a:moveTo>
                    <a:pt x="0" y="1859787"/>
                  </a:moveTo>
                  <a:lnTo>
                    <a:pt x="3379216" y="1859787"/>
                  </a:lnTo>
                  <a:lnTo>
                    <a:pt x="3379216" y="0"/>
                  </a:lnTo>
                  <a:lnTo>
                    <a:pt x="0" y="0"/>
                  </a:lnTo>
                  <a:lnTo>
                    <a:pt x="0" y="1859787"/>
                  </a:lnTo>
                  <a:close/>
                </a:path>
              </a:pathLst>
            </a:custGeom>
            <a:ln w="889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Nunito Sans"/>
              </a:endParaRPr>
            </a:p>
          </p:txBody>
        </p:sp>
      </p:grpSp>
      <p:sp>
        <p:nvSpPr>
          <p:cNvPr id="36" name="Прямоугольник 35"/>
          <p:cNvSpPr/>
          <p:nvPr/>
        </p:nvSpPr>
        <p:spPr>
          <a:xfrm>
            <a:off x="177800" y="2798434"/>
            <a:ext cx="2686050" cy="1470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marR="160972" algn="ctr">
              <a:lnSpc>
                <a:spcPct val="107200"/>
              </a:lnSpc>
              <a:spcBef>
                <a:spcPts val="75"/>
              </a:spcBef>
              <a:buClr>
                <a:srgbClr val="000000"/>
              </a:buClr>
              <a:buFont typeface="Wingdings"/>
              <a:buChar char=""/>
              <a:tabLst>
                <a:tab pos="340994" algn="l"/>
              </a:tabLst>
            </a:pPr>
            <a:r>
              <a:rPr lang="ru-RU" sz="1400" b="1" spc="-4" dirty="0" smtClean="0">
                <a:solidFill>
                  <a:srgbClr val="006FC0"/>
                </a:solidFill>
                <a:latin typeface="Nunito Sans"/>
                <a:cs typeface="Arial"/>
              </a:rPr>
              <a:t>Правила </a:t>
            </a:r>
            <a:r>
              <a:rPr lang="ru-RU" sz="1400" b="1" spc="-11" dirty="0" smtClean="0">
                <a:solidFill>
                  <a:srgbClr val="006FC0"/>
                </a:solidFill>
                <a:latin typeface="Nunito Sans"/>
                <a:cs typeface="Arial"/>
              </a:rPr>
              <a:t>представления </a:t>
            </a:r>
            <a:r>
              <a:rPr lang="ru-RU" sz="1400" b="1" spc="-368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b="1" spc="4" dirty="0" smtClean="0">
                <a:solidFill>
                  <a:srgbClr val="006FC0"/>
                </a:solidFill>
                <a:latin typeface="Nunito Sans"/>
                <a:cs typeface="Arial"/>
              </a:rPr>
              <a:t>баз</a:t>
            </a:r>
            <a:r>
              <a:rPr lang="ru-RU" sz="1400" b="1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b="1" spc="-4" dirty="0" smtClean="0">
                <a:solidFill>
                  <a:srgbClr val="006FC0"/>
                </a:solidFill>
                <a:latin typeface="Nunito Sans"/>
                <a:cs typeface="Arial"/>
              </a:rPr>
              <a:t>данных</a:t>
            </a:r>
            <a:r>
              <a:rPr lang="ru-RU" sz="1400" b="1" spc="-11" dirty="0" smtClean="0">
                <a:solidFill>
                  <a:srgbClr val="006FC0"/>
                </a:solidFill>
                <a:latin typeface="Nunito Sans"/>
                <a:cs typeface="Arial"/>
              </a:rPr>
              <a:t> </a:t>
            </a:r>
            <a:r>
              <a:rPr lang="ru-RU" sz="1400" dirty="0" smtClean="0">
                <a:latin typeface="Nunito Sans"/>
                <a:cs typeface="Microsoft Sans Serif"/>
              </a:rPr>
              <a:t>в</a:t>
            </a:r>
          </a:p>
          <a:p>
            <a:pPr marL="9525" algn="ctr">
              <a:spcBef>
                <a:spcPts val="116"/>
              </a:spcBef>
            </a:pPr>
            <a:r>
              <a:rPr lang="ru-RU" sz="1400" spc="-8" dirty="0" err="1" smtClean="0">
                <a:latin typeface="Nunito Sans"/>
                <a:cs typeface="Microsoft Sans Serif"/>
              </a:rPr>
              <a:t>деидентифицированном</a:t>
            </a:r>
            <a:r>
              <a:rPr lang="ru-RU" sz="1400" spc="-11" dirty="0" smtClean="0">
                <a:latin typeface="Nunito Sans"/>
                <a:cs typeface="Microsoft Sans Serif"/>
              </a:rPr>
              <a:t> </a:t>
            </a:r>
            <a:r>
              <a:rPr lang="ru-RU" sz="1400" dirty="0" smtClean="0">
                <a:latin typeface="Nunito Sans"/>
                <a:cs typeface="Microsoft Sans Serif"/>
              </a:rPr>
              <a:t>виде</a:t>
            </a:r>
          </a:p>
          <a:p>
            <a:pPr marL="9525" algn="ctr">
              <a:spcBef>
                <a:spcPts val="109"/>
              </a:spcBef>
            </a:pPr>
            <a:r>
              <a:rPr lang="ru-RU" sz="1400" spc="4" dirty="0" smtClean="0">
                <a:latin typeface="Nunito Sans"/>
                <a:cs typeface="Microsoft Sans Serif"/>
              </a:rPr>
              <a:t>для</a:t>
            </a:r>
            <a:r>
              <a:rPr lang="ru-RU" sz="1400" spc="-11" dirty="0" smtClean="0">
                <a:latin typeface="Nunito Sans"/>
                <a:cs typeface="Microsoft Sans Serif"/>
              </a:rPr>
              <a:t> </a:t>
            </a:r>
            <a:r>
              <a:rPr lang="ru-RU" sz="1400" spc="-15" dirty="0" smtClean="0">
                <a:latin typeface="Nunito Sans"/>
                <a:cs typeface="Microsoft Sans Serif"/>
              </a:rPr>
              <a:t>использования</a:t>
            </a:r>
            <a:endParaRPr lang="ru-RU" sz="1400" dirty="0" smtClean="0">
              <a:latin typeface="Nunito Sans"/>
              <a:cs typeface="Microsoft Sans Serif"/>
            </a:endParaRPr>
          </a:p>
          <a:p>
            <a:pPr marL="9525" marR="3810" algn="ctr">
              <a:lnSpc>
                <a:spcPct val="106700"/>
              </a:lnSpc>
              <a:spcBef>
                <a:spcPts val="8"/>
              </a:spcBef>
            </a:pPr>
            <a:r>
              <a:rPr lang="ru-RU" sz="1400" dirty="0" smtClean="0">
                <a:latin typeface="Nunito Sans"/>
                <a:cs typeface="Microsoft Sans Serif"/>
              </a:rPr>
              <a:t>в</a:t>
            </a:r>
            <a:r>
              <a:rPr lang="ru-RU" sz="1400" spc="11" dirty="0" smtClean="0">
                <a:latin typeface="Nunito Sans"/>
                <a:cs typeface="Microsoft Sans Serif"/>
              </a:rPr>
              <a:t> </a:t>
            </a:r>
            <a:r>
              <a:rPr lang="ru-RU" sz="1400" spc="-11" dirty="0" smtClean="0">
                <a:latin typeface="Nunito Sans"/>
                <a:cs typeface="Microsoft Sans Serif"/>
              </a:rPr>
              <a:t>научной</a:t>
            </a:r>
            <a:r>
              <a:rPr lang="ru-RU" sz="1400" spc="34" dirty="0" smtClean="0">
                <a:latin typeface="Nunito Sans"/>
                <a:cs typeface="Microsoft Sans Serif"/>
              </a:rPr>
              <a:t> </a:t>
            </a:r>
            <a:r>
              <a:rPr lang="ru-RU" sz="1400" spc="-4" dirty="0" smtClean="0">
                <a:latin typeface="Nunito Sans"/>
                <a:cs typeface="Microsoft Sans Serif"/>
              </a:rPr>
              <a:t>и</a:t>
            </a:r>
            <a:r>
              <a:rPr lang="ru-RU" sz="1400" spc="4" dirty="0" smtClean="0">
                <a:latin typeface="Nunito Sans"/>
                <a:cs typeface="Microsoft Sans Serif"/>
              </a:rPr>
              <a:t> </a:t>
            </a:r>
            <a:r>
              <a:rPr lang="ru-RU" sz="1400" spc="-15" dirty="0" smtClean="0">
                <a:latin typeface="Nunito Sans"/>
                <a:cs typeface="Microsoft Sans Serif"/>
              </a:rPr>
              <a:t>научно-технической </a:t>
            </a:r>
            <a:r>
              <a:rPr lang="ru-RU" sz="1400" spc="-344" dirty="0" smtClean="0">
                <a:latin typeface="Nunito Sans"/>
                <a:cs typeface="Microsoft Sans Serif"/>
              </a:rPr>
              <a:t> </a:t>
            </a:r>
            <a:r>
              <a:rPr lang="ru-RU" sz="1400" spc="-8" dirty="0" smtClean="0">
                <a:latin typeface="Nunito Sans"/>
                <a:cs typeface="Microsoft Sans Serif"/>
              </a:rPr>
              <a:t>деятельности</a:t>
            </a:r>
            <a:endParaRPr lang="ru-RU" sz="1400" dirty="0">
              <a:latin typeface="Nunito Sans"/>
              <a:cs typeface="Microsoft Sans Serif"/>
            </a:endParaRPr>
          </a:p>
        </p:txBody>
      </p:sp>
      <p:cxnSp>
        <p:nvCxnSpPr>
          <p:cNvPr id="37" name="Straight Connector 318">
            <a:extLst>
              <a:ext uri="{FF2B5EF4-FFF2-40B4-BE49-F238E27FC236}">
                <a16:creationId xmlns="" xmlns:a16="http://schemas.microsoft.com/office/drawing/2014/main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61575" y="598733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39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53228" y="134820"/>
            <a:ext cx="414000" cy="41343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kk-KZ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2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sp>
        <p:nvSpPr>
          <p:cNvPr id="40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07" y="278296"/>
            <a:ext cx="8274791" cy="223745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ru-RU" sz="2000" b="1" kern="0" dirty="0" smtClean="0">
                <a:solidFill>
                  <a:schemeClr val="bg1">
                    <a:lumMod val="50000"/>
                  </a:schemeClr>
                </a:solidFill>
              </a:rPr>
              <a:t>ВЗАИМОДЕЙСТВИЕ С ВУЗами РК</a:t>
            </a:r>
          </a:p>
        </p:txBody>
      </p:sp>
      <p:pic>
        <p:nvPicPr>
          <p:cNvPr id="42" name="object 1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8609604" y="29485"/>
            <a:ext cx="498766" cy="51678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p:oleObj spid="_x0000_s61550" name="think-cell Slide" r:id="rId5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143202" y="1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ＭＳ Ｐゴシック" panose="020B0600070205080204" pitchFamily="34" charset="-128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266" y="186452"/>
            <a:ext cx="5897603" cy="332163"/>
          </a:xfrm>
          <a:ln>
            <a:noFill/>
          </a:ln>
        </p:spPr>
        <p:txBody>
          <a:bodyPr/>
          <a:lstStyle/>
          <a:p>
            <a:r>
              <a:rPr lang="ru-RU" sz="2000" b="1" dirty="0" smtClean="0">
                <a:solidFill>
                  <a:srgbClr val="FFC000"/>
                </a:solidFill>
                <a:latin typeface="Nunito Sans"/>
              </a:rPr>
              <a:t>ИНИЦИАТИВА DATA LITERACY</a:t>
            </a:r>
            <a:br>
              <a:rPr lang="ru-RU" sz="2000" b="1" dirty="0" smtClean="0">
                <a:solidFill>
                  <a:srgbClr val="FFC000"/>
                </a:solidFill>
                <a:latin typeface="Nunito Sans"/>
              </a:rPr>
            </a:br>
            <a:endParaRPr lang="ru-RU" sz="2000" b="1" dirty="0">
              <a:solidFill>
                <a:srgbClr val="FFC000"/>
              </a:solidFill>
              <a:latin typeface="Nunito San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216057" y="787686"/>
            <a:ext cx="3729644" cy="32118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213426" y="2487899"/>
            <a:ext cx="4856717" cy="1569660"/>
          </a:xfrm>
          <a:prstGeom prst="rect">
            <a:avLst/>
          </a:prstGeom>
          <a:ln w="6350"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marL="171450" lvl="0" indent="-171450">
              <a:buFont typeface="Wingdings" pitchFamily="2" charset="2"/>
              <a:buChar char="ü"/>
            </a:pP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работу </a:t>
            </a:r>
            <a:r>
              <a:rPr lang="ru-RU" sz="1200" dirty="0">
                <a:latin typeface="Nunito Sans"/>
                <a:cs typeface="Segoe UI Light" panose="020B0502040204020203" pitchFamily="34" charset="0"/>
              </a:rPr>
              <a:t>с публикуемыми данными </a:t>
            </a: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и их интерпретации</a:t>
            </a:r>
          </a:p>
          <a:p>
            <a:pPr lvl="0"/>
            <a:endParaRPr lang="ru-RU" sz="1200" dirty="0" smtClean="0">
              <a:latin typeface="Nunito Sans"/>
              <a:cs typeface="Segoe UI Light" panose="020B0502040204020203" pitchFamily="34" charset="0"/>
            </a:endParaRPr>
          </a:p>
          <a:p>
            <a:pPr marL="171450" lvl="0" indent="-171450">
              <a:buFont typeface="Wingdings" pitchFamily="2" charset="2"/>
              <a:buChar char="ü"/>
            </a:pP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работу </a:t>
            </a:r>
            <a:r>
              <a:rPr lang="ru-RU" sz="1200" dirty="0">
                <a:latin typeface="Nunito Sans"/>
                <a:cs typeface="Segoe UI Light" panose="020B0502040204020203" pitchFamily="34" charset="0"/>
              </a:rPr>
              <a:t>с источниками </a:t>
            </a: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информации</a:t>
            </a:r>
          </a:p>
          <a:p>
            <a:pPr lvl="0"/>
            <a:endParaRPr lang="ru-RU" sz="1200" dirty="0" smtClean="0">
              <a:latin typeface="Nunito Sans"/>
              <a:cs typeface="Segoe UI Light" panose="020B0502040204020203" pitchFamily="34" charset="0"/>
            </a:endParaRPr>
          </a:p>
          <a:p>
            <a:pPr marL="171450" lvl="0" indent="-171450">
              <a:buFont typeface="Wingdings" pitchFamily="2" charset="2"/>
              <a:buChar char="ü"/>
            </a:pP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методологические </a:t>
            </a:r>
            <a:r>
              <a:rPr lang="ru-RU" sz="1200" dirty="0">
                <a:latin typeface="Nunito Sans"/>
                <a:cs typeface="Segoe UI Light" panose="020B0502040204020203" pitchFamily="34" charset="0"/>
              </a:rPr>
              <a:t>вопросы по основным отраслям </a:t>
            </a: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статистики</a:t>
            </a:r>
          </a:p>
          <a:p>
            <a:pPr marL="171450" lvl="0" indent="-171450">
              <a:buFont typeface="Wingdings" pitchFamily="2" charset="2"/>
              <a:buChar char="ü"/>
            </a:pPr>
            <a:endParaRPr lang="ru-RU" sz="1200" dirty="0" smtClean="0">
              <a:latin typeface="Nunito Sans"/>
              <a:cs typeface="Segoe UI Light" panose="020B0502040204020203" pitchFamily="34" charset="0"/>
            </a:endParaRPr>
          </a:p>
          <a:p>
            <a:pPr marL="171450" lvl="0" indent="-171450">
              <a:buFont typeface="Wingdings" pitchFamily="2" charset="2"/>
              <a:buChar char="ü"/>
            </a:pP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стандарты </a:t>
            </a:r>
            <a:r>
              <a:rPr lang="ru-RU" sz="1200" dirty="0">
                <a:latin typeface="Nunito Sans"/>
                <a:cs typeface="Segoe UI Light" panose="020B0502040204020203" pitchFamily="34" charset="0"/>
              </a:rPr>
              <a:t>качества данных и применение альтернативных источников </a:t>
            </a: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информации</a:t>
            </a:r>
            <a:endParaRPr lang="ru-RU" sz="1200" dirty="0">
              <a:latin typeface="Nunito Sans"/>
              <a:cs typeface="Segoe UI Light" panose="020B0502040204020203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207819" y="114349"/>
            <a:ext cx="414000" cy="41343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kk-KZ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3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sp>
        <p:nvSpPr>
          <p:cNvPr id="17" name="Rectangle 128">
            <a:extLst>
              <a:ext uri="{FF2B5EF4-FFF2-40B4-BE49-F238E27FC236}">
                <a16:creationId xmlns="" xmlns:a16="http://schemas.microsoft.com/office/drawing/2014/main" id="{22026CB0-DDB2-36D8-0B27-94BF40C53ECF}"/>
              </a:ext>
            </a:extLst>
          </p:cNvPr>
          <p:cNvSpPr>
            <a:spLocks/>
          </p:cNvSpPr>
          <p:nvPr/>
        </p:nvSpPr>
        <p:spPr>
          <a:xfrm>
            <a:off x="174944" y="4520242"/>
            <a:ext cx="8794113" cy="506250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ru-RU" sz="1200" b="1" dirty="0">
              <a:solidFill>
                <a:schemeClr val="bg1"/>
              </a:solidFill>
              <a:latin typeface="Nunito Sans"/>
            </a:endParaRPr>
          </a:p>
        </p:txBody>
      </p:sp>
      <p:sp>
        <p:nvSpPr>
          <p:cNvPr id="20" name="AutoShape 250">
            <a:extLst>
              <a:ext uri="{FF2B5EF4-FFF2-40B4-BE49-F238E27FC236}">
                <a16:creationId xmlns="" xmlns:a16="http://schemas.microsoft.com/office/drawing/2014/main" id="{A4827561-7DEC-7DAF-E853-4C74CC6F3D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6093" y="4597492"/>
            <a:ext cx="80739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/>
          <a:p>
            <a:pPr algn="just"/>
            <a:r>
              <a:rPr lang="ru-RU" sz="1200" kern="1200" dirty="0">
                <a:solidFill>
                  <a:schemeClr val="tx1"/>
                </a:solidFill>
                <a:latin typeface="Nunito Sans"/>
                <a:cs typeface="Segoe UI Light" panose="020B0502040204020203" pitchFamily="34" charset="0"/>
              </a:rPr>
              <a:t>Программа </a:t>
            </a:r>
            <a:r>
              <a:rPr lang="ru-RU" sz="120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Data </a:t>
            </a:r>
            <a:r>
              <a:rPr lang="ru-RU" sz="1200" b="1" dirty="0" err="1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Literacy</a:t>
            </a:r>
            <a:r>
              <a:rPr lang="ru-RU" sz="120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 </a:t>
            </a: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позволяет лучше </a:t>
            </a:r>
            <a:r>
              <a:rPr lang="ru-RU" sz="1200" b="1" dirty="0" smtClean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по</a:t>
            </a:r>
            <a:r>
              <a:rPr lang="ru-RU" sz="1200" b="1" dirty="0" smtClean="0">
                <a:solidFill>
                  <a:schemeClr val="tx2"/>
                </a:solidFill>
                <a:latin typeface="Nunito Sans"/>
                <a:cs typeface="Segoe UI Light" panose="020B0502040204020203" pitchFamily="34" charset="0"/>
              </a:rPr>
              <a:t>нима</a:t>
            </a:r>
            <a:r>
              <a:rPr lang="ru-RU" sz="1200" b="1" dirty="0" smtClean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ть статистику</a:t>
            </a: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, </a:t>
            </a:r>
            <a:r>
              <a:rPr lang="kk-KZ" sz="1200" dirty="0" smtClean="0">
                <a:latin typeface="Nunito Sans"/>
                <a:cs typeface="Segoe UI Light" panose="020B0502040204020203" pitchFamily="34" charset="0"/>
              </a:rPr>
              <a:t>а</a:t>
            </a:r>
            <a:r>
              <a:rPr lang="ru-RU" sz="1200" dirty="0" smtClean="0">
                <a:latin typeface="Nunito Sans"/>
                <a:cs typeface="Segoe UI Light" panose="020B0502040204020203" pitchFamily="34" charset="0"/>
              </a:rPr>
              <a:t> также формирует культуру </a:t>
            </a:r>
            <a:r>
              <a:rPr lang="ru-RU" sz="1200" b="1" dirty="0" smtClean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принятия решений на основе данных</a:t>
            </a:r>
            <a:endParaRPr lang="ru-RU" sz="1200" b="1" dirty="0">
              <a:solidFill>
                <a:srgbClr val="0070C0"/>
              </a:solidFill>
              <a:latin typeface="Nunito Sans"/>
              <a:cs typeface="Segoe UI Light" panose="020B05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38539" y="753029"/>
            <a:ext cx="508183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179">
              <a:buClr>
                <a:srgbClr val="0070CE"/>
              </a:buClr>
              <a:buSzPct val="100000"/>
              <a:defRPr/>
            </a:pPr>
            <a:r>
              <a:rPr lang="ru-RU" sz="1400" b="1" cap="small" dirty="0" smtClean="0">
                <a:solidFill>
                  <a:srgbClr val="FFC000"/>
                </a:solidFill>
                <a:latin typeface="Nunito Sans"/>
                <a:ea typeface="Tahoma" panose="020B0604030504040204" pitchFamily="34" charset="0"/>
                <a:cs typeface="Segoe UI Light" pitchFamily="34" charset="0"/>
              </a:rPr>
              <a:t>Повышение грамотности</a:t>
            </a:r>
            <a:r>
              <a:rPr lang="ru-RU" sz="1400" b="1" cap="small" dirty="0" smtClean="0">
                <a:solidFill>
                  <a:srgbClr val="00B050"/>
                </a:solidFill>
                <a:latin typeface="Nunito Sans"/>
                <a:ea typeface="Tahoma" panose="020B0604030504040204" pitchFamily="34" charset="0"/>
                <a:cs typeface="Segoe UI Light" pitchFamily="34" charset="0"/>
              </a:rPr>
              <a:t> </a:t>
            </a:r>
            <a:r>
              <a:rPr lang="ru-RU" sz="1400" b="1" cap="small" dirty="0" smtClean="0">
                <a:latin typeface="Nunito Sans"/>
                <a:ea typeface="Tahoma" panose="020B0604030504040204" pitchFamily="34" charset="0"/>
                <a:cs typeface="Segoe UI Light" pitchFamily="34" charset="0"/>
              </a:rPr>
              <a:t>государственных служащих, широкой общественности </a:t>
            </a:r>
            <a:r>
              <a:rPr lang="ru-RU" sz="1400" b="1" cap="small" dirty="0" smtClean="0">
                <a:solidFill>
                  <a:srgbClr val="FFC000"/>
                </a:solidFill>
                <a:latin typeface="Nunito Sans"/>
                <a:ea typeface="Tahoma" panose="020B0604030504040204" pitchFamily="34" charset="0"/>
                <a:cs typeface="Segoe UI Light" pitchFamily="34" charset="0"/>
              </a:rPr>
              <a:t>по работе с данными и развития профессиональных компетенций </a:t>
            </a:r>
            <a:r>
              <a:rPr lang="ru-RU" sz="1400" b="1" cap="small" dirty="0" smtClean="0">
                <a:latin typeface="Nunito Sans"/>
                <a:ea typeface="Tahoma" panose="020B0604030504040204" pitchFamily="34" charset="0"/>
                <a:cs typeface="Segoe UI Light" pitchFamily="34" charset="0"/>
              </a:rPr>
              <a:t>своих сотрудников</a:t>
            </a:r>
            <a:endParaRPr lang="ru-RU" sz="1400" b="1" cap="small" dirty="0">
              <a:latin typeface="Nunito Sans"/>
              <a:ea typeface="Tahoma" panose="020B0604030504040204" pitchFamily="34" charset="0"/>
              <a:cs typeface="Segoe UI Light" pitchFamily="34" charset="0"/>
            </a:endParaRPr>
          </a:p>
        </p:txBody>
      </p:sp>
      <p:grpSp>
        <p:nvGrpSpPr>
          <p:cNvPr id="25" name="Group 5">
            <a:extLst>
              <a:ext uri="{FF2B5EF4-FFF2-40B4-BE49-F238E27FC236}">
                <a16:creationId xmlns="" xmlns:a16="http://schemas.microsoft.com/office/drawing/2014/main" id="{D6DDFBF1-308D-98D4-25E4-D94A83746B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1357" y="4584515"/>
            <a:ext cx="329746" cy="291115"/>
            <a:chOff x="206" y="2776"/>
            <a:chExt cx="239" cy="211"/>
          </a:xfrm>
        </p:grpSpPr>
        <p:sp>
          <p:nvSpPr>
            <p:cNvPr id="26" name="Freeform 6">
              <a:extLst>
                <a:ext uri="{FF2B5EF4-FFF2-40B4-BE49-F238E27FC236}">
                  <a16:creationId xmlns="" xmlns:a16="http://schemas.microsoft.com/office/drawing/2014/main" id="{4722751E-E17B-FB0C-E5F5-DEC4D72F6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" y="2847"/>
              <a:ext cx="29" cy="96"/>
            </a:xfrm>
            <a:custGeom>
              <a:avLst/>
              <a:gdLst>
                <a:gd name="T0" fmla="*/ 12 w 24"/>
                <a:gd name="T1" fmla="*/ 79 h 79"/>
                <a:gd name="T2" fmla="*/ 12 w 24"/>
                <a:gd name="T3" fmla="*/ 79 h 79"/>
                <a:gd name="T4" fmla="*/ 4 w 24"/>
                <a:gd name="T5" fmla="*/ 71 h 79"/>
                <a:gd name="T6" fmla="*/ 0 w 24"/>
                <a:gd name="T7" fmla="*/ 12 h 79"/>
                <a:gd name="T8" fmla="*/ 12 w 24"/>
                <a:gd name="T9" fmla="*/ 0 h 79"/>
                <a:gd name="T10" fmla="*/ 12 w 24"/>
                <a:gd name="T11" fmla="*/ 0 h 79"/>
                <a:gd name="T12" fmla="*/ 24 w 24"/>
                <a:gd name="T13" fmla="*/ 12 h 79"/>
                <a:gd name="T14" fmla="*/ 20 w 24"/>
                <a:gd name="T15" fmla="*/ 71 h 79"/>
                <a:gd name="T16" fmla="*/ 12 w 24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79">
                  <a:moveTo>
                    <a:pt x="12" y="79"/>
                  </a:moveTo>
                  <a:cubicBezTo>
                    <a:pt x="12" y="79"/>
                    <a:pt x="12" y="79"/>
                    <a:pt x="12" y="79"/>
                  </a:cubicBezTo>
                  <a:cubicBezTo>
                    <a:pt x="7" y="79"/>
                    <a:pt x="4" y="75"/>
                    <a:pt x="4" y="7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8"/>
                    <a:pt x="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2" y="0"/>
                    <a:pt x="24" y="8"/>
                    <a:pt x="24" y="12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5"/>
                    <a:pt x="17" y="79"/>
                    <a:pt x="12" y="79"/>
                  </a:cubicBezTo>
                  <a:close/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"/>
                <a:ea typeface="ＭＳ Ｐゴシック"/>
                <a:cs typeface="Segoe UI" panose="020B0502040204020203" pitchFamily="34" charset="0"/>
              </a:endParaRPr>
            </a:p>
          </p:txBody>
        </p:sp>
        <p:sp>
          <p:nvSpPr>
            <p:cNvPr id="27" name="Oval 7">
              <a:extLst>
                <a:ext uri="{FF2B5EF4-FFF2-40B4-BE49-F238E27FC236}">
                  <a16:creationId xmlns="" xmlns:a16="http://schemas.microsoft.com/office/drawing/2014/main" id="{9DF44B9B-9D40-5D8E-A9F5-2EB156F68C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" y="2965"/>
              <a:ext cx="22" cy="22"/>
            </a:xfrm>
            <a:prstGeom prst="ellips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"/>
                <a:ea typeface="ＭＳ Ｐゴシック"/>
                <a:cs typeface="Segoe UI" panose="020B0502040204020203" pitchFamily="34" charset="0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="" xmlns:a16="http://schemas.microsoft.com/office/drawing/2014/main" id="{3D506C76-C1A1-CCF5-D854-C6156C530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" y="2776"/>
              <a:ext cx="239" cy="200"/>
            </a:xfrm>
            <a:custGeom>
              <a:avLst/>
              <a:gdLst>
                <a:gd name="T0" fmla="*/ 126 w 196"/>
                <a:gd name="T1" fmla="*/ 164 h 164"/>
                <a:gd name="T2" fmla="*/ 180 w 196"/>
                <a:gd name="T3" fmla="*/ 164 h 164"/>
                <a:gd name="T4" fmla="*/ 191 w 196"/>
                <a:gd name="T5" fmla="*/ 144 h 164"/>
                <a:gd name="T6" fmla="*/ 110 w 196"/>
                <a:gd name="T7" fmla="*/ 9 h 164"/>
                <a:gd name="T8" fmla="*/ 86 w 196"/>
                <a:gd name="T9" fmla="*/ 9 h 164"/>
                <a:gd name="T10" fmla="*/ 5 w 196"/>
                <a:gd name="T11" fmla="*/ 144 h 164"/>
                <a:gd name="T12" fmla="*/ 16 w 196"/>
                <a:gd name="T13" fmla="*/ 164 h 164"/>
                <a:gd name="T14" fmla="*/ 70 w 196"/>
                <a:gd name="T1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" h="164">
                  <a:moveTo>
                    <a:pt x="126" y="164"/>
                  </a:moveTo>
                  <a:cubicBezTo>
                    <a:pt x="180" y="164"/>
                    <a:pt x="180" y="164"/>
                    <a:pt x="180" y="164"/>
                  </a:cubicBezTo>
                  <a:cubicBezTo>
                    <a:pt x="190" y="164"/>
                    <a:pt x="196" y="153"/>
                    <a:pt x="191" y="144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04" y="0"/>
                    <a:pt x="92" y="0"/>
                    <a:pt x="86" y="9"/>
                  </a:cubicBezTo>
                  <a:cubicBezTo>
                    <a:pt x="5" y="144"/>
                    <a:pt x="5" y="144"/>
                    <a:pt x="5" y="144"/>
                  </a:cubicBezTo>
                  <a:cubicBezTo>
                    <a:pt x="0" y="153"/>
                    <a:pt x="6" y="164"/>
                    <a:pt x="16" y="164"/>
                  </a:cubicBezTo>
                  <a:cubicBezTo>
                    <a:pt x="70" y="164"/>
                    <a:pt x="70" y="164"/>
                    <a:pt x="70" y="164"/>
                  </a:cubicBezTo>
                </a:path>
              </a:pathLst>
            </a:custGeom>
            <a:noFill/>
            <a:ln w="12700" cap="sq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"/>
                <a:ea typeface="ＭＳ Ｐゴシック"/>
                <a:cs typeface="Segoe UI" panose="020B0502040204020203" pitchFamily="34" charset="0"/>
              </a:endParaRPr>
            </a:p>
          </p:txBody>
        </p:sp>
      </p:grpSp>
      <p:cxnSp>
        <p:nvCxnSpPr>
          <p:cNvPr id="29" name="Straight Connector 318">
            <a:extLst>
              <a:ext uri="{FF2B5EF4-FFF2-40B4-BE49-F238E27FC236}">
                <a16:creationId xmlns="" xmlns:a16="http://schemas.microsoft.com/office/drawing/2014/main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268255" y="576526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30" name="Прямоугольник 29"/>
          <p:cNvSpPr/>
          <p:nvPr/>
        </p:nvSpPr>
        <p:spPr>
          <a:xfrm>
            <a:off x="197680" y="2020810"/>
            <a:ext cx="33099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b="1" dirty="0" smtClean="0">
                <a:latin typeface="Nunito Sans"/>
                <a:ea typeface="Lato Black"/>
                <a:cs typeface="Segoe UI Light" pitchFamily="34" charset="0"/>
                <a:sym typeface="Lato Black"/>
              </a:rPr>
              <a:t>Программа ориентирована на</a:t>
            </a:r>
            <a:r>
              <a:rPr lang="ru-RU" b="1" dirty="0" smtClean="0">
                <a:latin typeface="Nunito Sans"/>
                <a:ea typeface="Lato Black"/>
                <a:cs typeface="Segoe UI Light" pitchFamily="34" charset="0"/>
                <a:sym typeface="Lato Black"/>
              </a:rPr>
              <a:t>:</a:t>
            </a:r>
            <a:endParaRPr lang="ru-RU" b="1" dirty="0">
              <a:latin typeface="Nunito Sans"/>
              <a:ea typeface="Tahoma" panose="020B0604030504040204" pitchFamily="34" charset="0"/>
              <a:cs typeface="Segoe UI Light" pitchFamily="34" charset="0"/>
            </a:endParaRPr>
          </a:p>
        </p:txBody>
      </p:sp>
      <p:pic>
        <p:nvPicPr>
          <p:cNvPr id="18" name="object 1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609604" y="29485"/>
            <a:ext cx="498766" cy="51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32531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5">
            <a:extLst>
              <a:ext uri="{FF2B5EF4-FFF2-40B4-BE49-F238E27FC236}">
                <a16:creationId xmlns="" xmlns:a16="http://schemas.microsoft.com/office/drawing/2014/main" id="{BAD1E3BF-CB2E-F19E-7B44-6EB5743243FB}"/>
              </a:ext>
            </a:extLst>
          </p:cNvPr>
          <p:cNvGrpSpPr/>
          <p:nvPr/>
        </p:nvGrpSpPr>
        <p:grpSpPr>
          <a:xfrm rot="5400000">
            <a:off x="5146984" y="2526470"/>
            <a:ext cx="3581612" cy="560986"/>
            <a:chOff x="106043" y="-635217"/>
            <a:chExt cx="9144000" cy="560986"/>
          </a:xfrm>
        </p:grpSpPr>
        <p:sp>
          <p:nvSpPr>
            <p:cNvPr id="22" name="Rectangle 113">
              <a:extLst>
                <a:ext uri="{FF2B5EF4-FFF2-40B4-BE49-F238E27FC236}">
                  <a16:creationId xmlns="" xmlns:a16="http://schemas.microsoft.com/office/drawing/2014/main" id="{CB3AA503-49B5-7F3C-1551-2CC7AEA97B6C}"/>
                </a:ext>
              </a:extLst>
            </p:cNvPr>
            <p:cNvSpPr>
              <a:spLocks/>
            </p:cNvSpPr>
            <p:nvPr/>
          </p:nvSpPr>
          <p:spPr>
            <a:xfrm>
              <a:off x="106043" y="-579655"/>
              <a:ext cx="9144000" cy="367903"/>
            </a:xfrm>
            <a:prstGeom prst="rect">
              <a:avLst/>
            </a:prstGeom>
            <a:gradFill>
              <a:gsLst>
                <a:gs pos="100000">
                  <a:schemeClr val="accent6">
                    <a:lumMod val="75000"/>
                    <a:alpha val="14000"/>
                  </a:schemeClr>
                </a:gs>
                <a:gs pos="35000">
                  <a:schemeClr val="bg2">
                    <a:alpha val="0"/>
                  </a:schemeClr>
                </a:gs>
              </a:gsLst>
              <a:lin ang="162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1800" dirty="0" err="1">
                <a:solidFill>
                  <a:schemeClr val="tx1"/>
                </a:solidFill>
                <a:latin typeface="Nunito Sans"/>
                <a:cs typeface="Segoe UI Light" panose="020B0502040204020203" pitchFamily="34" charset="0"/>
              </a:endParaRPr>
            </a:p>
          </p:txBody>
        </p:sp>
        <p:sp>
          <p:nvSpPr>
            <p:cNvPr id="23" name="Rectangle 115">
              <a:extLst>
                <a:ext uri="{FF2B5EF4-FFF2-40B4-BE49-F238E27FC236}">
                  <a16:creationId xmlns="" xmlns:a16="http://schemas.microsoft.com/office/drawing/2014/main" id="{8F7BE0C5-1162-AC98-A786-412AC6758B75}"/>
                </a:ext>
              </a:extLst>
            </p:cNvPr>
            <p:cNvSpPr>
              <a:spLocks/>
            </p:cNvSpPr>
            <p:nvPr/>
          </p:nvSpPr>
          <p:spPr>
            <a:xfrm>
              <a:off x="106043" y="-635217"/>
              <a:ext cx="9144000" cy="560986"/>
            </a:xfrm>
            <a:prstGeom prst="rect">
              <a:avLst/>
            </a:prstGeom>
            <a:gradFill>
              <a:gsLst>
                <a:gs pos="90000">
                  <a:schemeClr val="bg2">
                    <a:alpha val="0"/>
                  </a:schemeClr>
                </a:gs>
                <a:gs pos="15000">
                  <a:schemeClr val="bg2">
                    <a:alpha val="0"/>
                  </a:schemeClr>
                </a:gs>
                <a:gs pos="100000">
                  <a:schemeClr val="bg2"/>
                </a:gs>
                <a:gs pos="0">
                  <a:schemeClr val="bg2"/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1800" dirty="0" err="1">
                <a:solidFill>
                  <a:schemeClr val="tx1"/>
                </a:solidFill>
                <a:latin typeface="Nunito Sans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p:oleObj spid="_x0000_s129026" name="think-cell Slide" r:id="rId16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143202" y="1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ＭＳ Ｐゴシック" panose="020B0600070205080204" pitchFamily="34" charset="-128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4" name="ACET">
            <a:extLst>
              <a:ext uri="{FF2B5EF4-FFF2-40B4-BE49-F238E27FC236}">
                <a16:creationId xmlns="" xmlns:a16="http://schemas.microsoft.com/office/drawing/2014/main" id="{466E6676-76B2-5C29-C90D-86250B15D7F0}"/>
              </a:ext>
            </a:extLst>
          </p:cNvPr>
          <p:cNvGrpSpPr>
            <a:grpSpLocks/>
          </p:cNvGrpSpPr>
          <p:nvPr/>
        </p:nvGrpSpPr>
        <p:grpSpPr bwMode="gray">
          <a:xfrm>
            <a:off x="4978401" y="772740"/>
            <a:ext cx="1846088" cy="202874"/>
            <a:chOff x="915" y="863"/>
            <a:chExt cx="3537" cy="167"/>
          </a:xfrm>
        </p:grpSpPr>
        <p:cxnSp>
          <p:nvCxnSpPr>
            <p:cNvPr id="3" name="AutoShape 249">
              <a:extLst>
                <a:ext uri="{FF2B5EF4-FFF2-40B4-BE49-F238E27FC236}">
                  <a16:creationId xmlns="" xmlns:a16="http://schemas.microsoft.com/office/drawing/2014/main" id="{508F7D7D-3D0F-A74C-7E7E-BD3F8FFC815F}"/>
                </a:ext>
              </a:extLst>
            </p:cNvPr>
            <p:cNvCxnSpPr>
              <a:cxnSpLocks noChangeShapeType="1"/>
              <a:stCxn id="5" idx="4"/>
              <a:endCxn id="5" idx="6"/>
            </p:cNvCxnSpPr>
            <p:nvPr/>
          </p:nvCxnSpPr>
          <p:spPr bwMode="gray">
            <a:xfrm>
              <a:off x="915" y="1030"/>
              <a:ext cx="3537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" name="AutoShape 250">
              <a:extLst>
                <a:ext uri="{FF2B5EF4-FFF2-40B4-BE49-F238E27FC236}">
                  <a16:creationId xmlns="" xmlns:a16="http://schemas.microsoft.com/office/drawing/2014/main" id="{4A65B020-6B70-0D0E-AB0B-DA1BCFA41E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863"/>
              <a:ext cx="3537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solidFill>
                    <a:schemeClr val="accent3"/>
                  </a:solidFill>
                  <a:latin typeface="Nunito Sans"/>
                  <a:ea typeface="ＭＳ Ｐゴシック"/>
                  <a:cs typeface="Segoe UI" panose="020B0502040204020203" pitchFamily="34" charset="0"/>
                </a:rPr>
                <a:t>Статус</a:t>
              </a:r>
            </a:p>
          </p:txBody>
        </p:sp>
      </p:grpSp>
      <p:grpSp>
        <p:nvGrpSpPr>
          <p:cNvPr id="6" name="ACET">
            <a:extLst>
              <a:ext uri="{FF2B5EF4-FFF2-40B4-BE49-F238E27FC236}">
                <a16:creationId xmlns="" xmlns:a16="http://schemas.microsoft.com/office/drawing/2014/main" id="{AA42898E-E542-8A08-9C56-56FAFD86F2BF}"/>
              </a:ext>
            </a:extLst>
          </p:cNvPr>
          <p:cNvGrpSpPr>
            <a:grpSpLocks/>
          </p:cNvGrpSpPr>
          <p:nvPr/>
        </p:nvGrpSpPr>
        <p:grpSpPr bwMode="gray">
          <a:xfrm>
            <a:off x="7301349" y="774965"/>
            <a:ext cx="1613536" cy="202874"/>
            <a:chOff x="950" y="863"/>
            <a:chExt cx="3538" cy="167"/>
          </a:xfrm>
        </p:grpSpPr>
        <p:cxnSp>
          <p:nvCxnSpPr>
            <p:cNvPr id="12" name="AutoShape 249">
              <a:extLst>
                <a:ext uri="{FF2B5EF4-FFF2-40B4-BE49-F238E27FC236}">
                  <a16:creationId xmlns="" xmlns:a16="http://schemas.microsoft.com/office/drawing/2014/main" id="{99E2C5AF-F3D9-669D-C01C-7A6BE3BA9DCD}"/>
                </a:ext>
              </a:extLst>
            </p:cNvPr>
            <p:cNvCxnSpPr>
              <a:cxnSpLocks noChangeShapeType="1"/>
              <a:stCxn id="13" idx="4"/>
              <a:endCxn id="13" idx="6"/>
            </p:cNvCxnSpPr>
            <p:nvPr/>
          </p:nvCxnSpPr>
          <p:spPr bwMode="gray">
            <a:xfrm rot="16200000" flipH="1">
              <a:off x="2719" y="-739"/>
              <a:ext cx="1" cy="3537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>
              <a:extLst>
                <a:ext uri="{FF2B5EF4-FFF2-40B4-BE49-F238E27FC236}">
                  <a16:creationId xmlns="" xmlns:a16="http://schemas.microsoft.com/office/drawing/2014/main" id="{EF6E70E2-D74D-CC5B-98FF-D06D4137A3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0" y="863"/>
              <a:ext cx="3537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solidFill>
                    <a:schemeClr val="accent3"/>
                  </a:solidFill>
                  <a:latin typeface="Nunito Sans"/>
                  <a:ea typeface="ＭＳ Ｐゴシック"/>
                  <a:cs typeface="Segoe UI" panose="020B0502040204020203" pitchFamily="34" charset="0"/>
                </a:rPr>
                <a:t>Партнёры</a:t>
              </a:r>
            </a:p>
          </p:txBody>
        </p:sp>
      </p:grpSp>
      <p:grpSp>
        <p:nvGrpSpPr>
          <p:cNvPr id="7" name="Graphic 54">
            <a:extLst>
              <a:ext uri="{FF2B5EF4-FFF2-40B4-BE49-F238E27FC236}">
                <a16:creationId xmlns="" xmlns:a16="http://schemas.microsoft.com/office/drawing/2014/main" id="{8A32D092-BB40-79FD-EC55-2E94BE934BB6}"/>
              </a:ext>
            </a:extLst>
          </p:cNvPr>
          <p:cNvGrpSpPr>
            <a:grpSpLocks/>
          </p:cNvGrpSpPr>
          <p:nvPr/>
        </p:nvGrpSpPr>
        <p:grpSpPr>
          <a:xfrm>
            <a:off x="6939567" y="804839"/>
            <a:ext cx="239404" cy="239404"/>
            <a:chOff x="4338637" y="2338387"/>
            <a:chExt cx="466725" cy="466725"/>
          </a:xfrm>
          <a:solidFill>
            <a:srgbClr val="FFC000"/>
          </a:solidFill>
        </p:grpSpPr>
        <p:sp>
          <p:nvSpPr>
            <p:cNvPr id="30" name="Freeform: Shape 56">
              <a:extLst>
                <a:ext uri="{FF2B5EF4-FFF2-40B4-BE49-F238E27FC236}">
                  <a16:creationId xmlns="" xmlns:a16="http://schemas.microsoft.com/office/drawing/2014/main" id="{69677FFA-5A5C-261D-7ECE-9EBE981FC088}"/>
                </a:ext>
              </a:extLst>
            </p:cNvPr>
            <p:cNvSpPr/>
            <p:nvPr/>
          </p:nvSpPr>
          <p:spPr>
            <a:xfrm>
              <a:off x="4335266" y="2335016"/>
              <a:ext cx="466725" cy="466725"/>
            </a:xfrm>
            <a:custGeom>
              <a:avLst/>
              <a:gdLst>
                <a:gd name="connsiteX0" fmla="*/ 464381 w 466725"/>
                <a:gd name="connsiteY0" fmla="*/ 237686 h 466725"/>
                <a:gd name="connsiteX1" fmla="*/ 237686 w 466725"/>
                <a:gd name="connsiteY1" fmla="*/ 464381 h 466725"/>
                <a:gd name="connsiteX2" fmla="*/ 10991 w 466725"/>
                <a:gd name="connsiteY2" fmla="*/ 237686 h 466725"/>
                <a:gd name="connsiteX3" fmla="*/ 237686 w 466725"/>
                <a:gd name="connsiteY3" fmla="*/ 10991 h 466725"/>
                <a:gd name="connsiteX4" fmla="*/ 464381 w 466725"/>
                <a:gd name="connsiteY4" fmla="*/ 237686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725" h="466725">
                  <a:moveTo>
                    <a:pt x="464381" y="237686"/>
                  </a:moveTo>
                  <a:cubicBezTo>
                    <a:pt x="464381" y="362886"/>
                    <a:pt x="362886" y="464381"/>
                    <a:pt x="237686" y="464381"/>
                  </a:cubicBezTo>
                  <a:cubicBezTo>
                    <a:pt x="112485" y="464381"/>
                    <a:pt x="10991" y="362886"/>
                    <a:pt x="10991" y="237686"/>
                  </a:cubicBezTo>
                  <a:cubicBezTo>
                    <a:pt x="10991" y="112485"/>
                    <a:pt x="112485" y="10991"/>
                    <a:pt x="237686" y="10991"/>
                  </a:cubicBezTo>
                  <a:cubicBezTo>
                    <a:pt x="362886" y="10991"/>
                    <a:pt x="464381" y="112485"/>
                    <a:pt x="464381" y="237686"/>
                  </a:cubicBezTo>
                  <a:close/>
                </a:path>
              </a:pathLst>
            </a:custGeom>
            <a:grpFill/>
            <a:ln w="14654" cap="rnd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ru-RU" sz="1200" dirty="0">
                <a:latin typeface="Nunito Sans"/>
              </a:endParaRPr>
            </a:p>
          </p:txBody>
        </p:sp>
        <p:sp>
          <p:nvSpPr>
            <p:cNvPr id="32" name="Freeform: Shape 57">
              <a:extLst>
                <a:ext uri="{FF2B5EF4-FFF2-40B4-BE49-F238E27FC236}">
                  <a16:creationId xmlns="" xmlns:a16="http://schemas.microsoft.com/office/drawing/2014/main" id="{4FB86690-B57E-CC41-AD77-BFD0E76BA4B9}"/>
                </a:ext>
              </a:extLst>
            </p:cNvPr>
            <p:cNvSpPr/>
            <p:nvPr/>
          </p:nvSpPr>
          <p:spPr>
            <a:xfrm>
              <a:off x="4561961" y="2429314"/>
              <a:ext cx="19050" cy="285750"/>
            </a:xfrm>
            <a:custGeom>
              <a:avLst/>
              <a:gdLst>
                <a:gd name="connsiteX0" fmla="*/ 10991 w 19050"/>
                <a:gd name="connsiteY0" fmla="*/ 10991 h 285750"/>
                <a:gd name="connsiteX1" fmla="*/ 10991 w 19050"/>
                <a:gd name="connsiteY1" fmla="*/ 275786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285750">
                  <a:moveTo>
                    <a:pt x="10991" y="10991"/>
                  </a:moveTo>
                  <a:lnTo>
                    <a:pt x="10991" y="275786"/>
                  </a:lnTo>
                </a:path>
              </a:pathLst>
            </a:custGeom>
            <a:grpFill/>
            <a:ln w="158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sz="1200">
                <a:latin typeface="Nunito Sans"/>
              </a:endParaRPr>
            </a:p>
          </p:txBody>
        </p:sp>
        <p:sp>
          <p:nvSpPr>
            <p:cNvPr id="33" name="Freeform: Shape 58">
              <a:extLst>
                <a:ext uri="{FF2B5EF4-FFF2-40B4-BE49-F238E27FC236}">
                  <a16:creationId xmlns="" xmlns:a16="http://schemas.microsoft.com/office/drawing/2014/main" id="{48DA96C9-B828-C978-9764-492F8CBD2FB5}"/>
                </a:ext>
              </a:extLst>
            </p:cNvPr>
            <p:cNvSpPr/>
            <p:nvPr/>
          </p:nvSpPr>
          <p:spPr>
            <a:xfrm>
              <a:off x="4429564" y="2561711"/>
              <a:ext cx="285750" cy="19050"/>
            </a:xfrm>
            <a:custGeom>
              <a:avLst/>
              <a:gdLst>
                <a:gd name="connsiteX0" fmla="*/ 275786 w 285750"/>
                <a:gd name="connsiteY0" fmla="*/ 10991 h 19050"/>
                <a:gd name="connsiteX1" fmla="*/ 10991 w 285750"/>
                <a:gd name="connsiteY1" fmla="*/ 10991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0" h="19050">
                  <a:moveTo>
                    <a:pt x="275786" y="10991"/>
                  </a:moveTo>
                  <a:lnTo>
                    <a:pt x="10991" y="10991"/>
                  </a:lnTo>
                </a:path>
              </a:pathLst>
            </a:custGeom>
            <a:grpFill/>
            <a:ln w="158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sz="1200">
                <a:latin typeface="Nunito Sans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F30DD440-4F5D-5FBF-8863-DF2440DEFB7D}"/>
              </a:ext>
            </a:extLst>
          </p:cNvPr>
          <p:cNvSpPr txBox="1">
            <a:spLocks/>
          </p:cNvSpPr>
          <p:nvPr/>
        </p:nvSpPr>
        <p:spPr>
          <a:xfrm>
            <a:off x="250790" y="1139162"/>
            <a:ext cx="2042203" cy="86947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ru-RU" b="1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Level 1. Знакомство с данными и статистикой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931D447A-D98E-FEB9-5AB7-F0EEB81BB004}"/>
              </a:ext>
            </a:extLst>
          </p:cNvPr>
          <p:cNvSpPr txBox="1">
            <a:spLocks/>
          </p:cNvSpPr>
          <p:nvPr/>
        </p:nvSpPr>
        <p:spPr>
          <a:xfrm>
            <a:off x="254027" y="2221833"/>
            <a:ext cx="2042203" cy="6948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ru-RU" b="1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Level 2. Методология статистических показателей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308B8449-DFCC-969E-09B3-D6594A7F3FBA}"/>
              </a:ext>
            </a:extLst>
          </p:cNvPr>
          <p:cNvSpPr txBox="1">
            <a:spLocks/>
          </p:cNvSpPr>
          <p:nvPr/>
        </p:nvSpPr>
        <p:spPr>
          <a:xfrm>
            <a:off x="250790" y="3098605"/>
            <a:ext cx="2042203" cy="7007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ru-RU" b="1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Level 3. Описательный анализ данных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D45DFEC2-534B-9CEB-CD43-8ACDF5A0F76E}"/>
              </a:ext>
            </a:extLst>
          </p:cNvPr>
          <p:cNvSpPr txBox="1">
            <a:spLocks/>
          </p:cNvSpPr>
          <p:nvPr/>
        </p:nvSpPr>
        <p:spPr>
          <a:xfrm>
            <a:off x="260377" y="3938414"/>
            <a:ext cx="2042203" cy="7668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ru-RU" b="1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Level 4. Предиктивная аналитика и управление данными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B9CC8500-9A5A-032B-7448-3D3D18053D2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374487" y="1193358"/>
            <a:ext cx="2567578" cy="60272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88900" lvl="1" indent="-88900">
              <a:spcBef>
                <a:spcPts val="200"/>
              </a:spcBef>
            </a:pPr>
            <a:r>
              <a:rPr lang="ru-RU" sz="1050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 Опубликованы видеоролики по базовым знаниям и интерпретации </a:t>
            </a:r>
            <a:r>
              <a:rPr lang="ru-RU" sz="1050" dirty="0" smtClean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данных</a:t>
            </a:r>
          </a:p>
          <a:p>
            <a:pPr marL="88900" lvl="1" indent="-88900">
              <a:spcBef>
                <a:spcPts val="200"/>
              </a:spcBef>
            </a:pPr>
            <a:endParaRPr lang="ru-RU" sz="600" dirty="0" smtClean="0">
              <a:latin typeface="Nunito Sans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9BC78988-47A0-8573-92C8-A6A825409BC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384074" y="2263823"/>
            <a:ext cx="2567578" cy="48474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88900" lvl="1" indent="-88900">
              <a:spcBef>
                <a:spcPts val="200"/>
              </a:spcBef>
            </a:pPr>
            <a:r>
              <a:rPr lang="ru-RU" sz="1050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Ведётся производство видео контента по обучению методике ключевых макроэкономических показателей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61660B25-104D-4797-4EBC-1C9592D7BCF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384073" y="3134057"/>
            <a:ext cx="2567578" cy="48474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88900" lvl="1" indent="-88900">
              <a:spcBef>
                <a:spcPts val="200"/>
              </a:spcBef>
            </a:pPr>
            <a:r>
              <a:rPr lang="ru-RU" sz="1050" dirty="0" smtClean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Проведено обучение </a:t>
            </a:r>
            <a:r>
              <a:rPr lang="ru-RU" sz="1050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по анализу и визуализации данных на программе </a:t>
            </a:r>
            <a:r>
              <a:rPr lang="ru-RU" sz="1050" dirty="0" err="1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Qlik</a:t>
            </a:r>
            <a:r>
              <a:rPr lang="ru-RU" sz="1050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A4C83F55-1203-863F-65D9-F28BCD24A67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384072" y="3951024"/>
            <a:ext cx="2567578" cy="48474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88900" lvl="1" indent="-88900">
              <a:spcBef>
                <a:spcPts val="200"/>
              </a:spcBef>
            </a:pPr>
            <a:r>
              <a:rPr lang="ru-RU" sz="1050" dirty="0" smtClean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Проведено обучение </a:t>
            </a:r>
            <a:r>
              <a:rPr lang="ru-RU" sz="1050" dirty="0">
                <a:latin typeface="Nunito Sans"/>
                <a:ea typeface="ＭＳ Ｐゴシック" panose="020B0600070205080204" pitchFamily="34" charset="-128"/>
                <a:cs typeface="Segoe UI Light" panose="020B0502040204020203" pitchFamily="34" charset="0"/>
              </a:rPr>
              <a:t>по дата-аналитике для решения комплексных проблем на основе данных</a:t>
            </a:r>
          </a:p>
        </p:txBody>
      </p:sp>
      <p:cxnSp>
        <p:nvCxnSpPr>
          <p:cNvPr id="44" name="Straight Connector 318">
            <a:extLst>
              <a:ext uri="{FF2B5EF4-FFF2-40B4-BE49-F238E27FC236}">
                <a16:creationId xmlns="" xmlns:a16="http://schemas.microsoft.com/office/drawing/2014/main" id="{1FA0E02C-76E7-AF86-F3D4-D4E7A7BE5C0D}"/>
              </a:ext>
            </a:extLst>
          </p:cNvPr>
          <p:cNvCxnSpPr>
            <a:cxnSpLocks/>
          </p:cNvCxnSpPr>
          <p:nvPr/>
        </p:nvCxnSpPr>
        <p:spPr>
          <a:xfrm>
            <a:off x="281614" y="2124916"/>
            <a:ext cx="6646237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cxnSp>
        <p:nvCxnSpPr>
          <p:cNvPr id="47" name="Straight Connector 318">
            <a:extLst>
              <a:ext uri="{FF2B5EF4-FFF2-40B4-BE49-F238E27FC236}">
                <a16:creationId xmlns="" xmlns:a16="http://schemas.microsoft.com/office/drawing/2014/main" id="{E92B867B-9FB3-CC74-FB47-F5424B31E698}"/>
              </a:ext>
            </a:extLst>
          </p:cNvPr>
          <p:cNvCxnSpPr>
            <a:cxnSpLocks/>
          </p:cNvCxnSpPr>
          <p:nvPr/>
        </p:nvCxnSpPr>
        <p:spPr>
          <a:xfrm>
            <a:off x="254027" y="3025760"/>
            <a:ext cx="6646237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cxnSp>
        <p:nvCxnSpPr>
          <p:cNvPr id="48" name="Straight Connector 318">
            <a:extLst>
              <a:ext uri="{FF2B5EF4-FFF2-40B4-BE49-F238E27FC236}">
                <a16:creationId xmlns="" xmlns:a16="http://schemas.microsoft.com/office/drawing/2014/main" id="{E073DBC6-107F-CA58-5338-0D3F0D8546B9}"/>
              </a:ext>
            </a:extLst>
          </p:cNvPr>
          <p:cNvCxnSpPr>
            <a:cxnSpLocks/>
          </p:cNvCxnSpPr>
          <p:nvPr/>
        </p:nvCxnSpPr>
        <p:spPr>
          <a:xfrm>
            <a:off x="254027" y="3866990"/>
            <a:ext cx="6646237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01986AA8-286F-A925-2148-63A2FD40143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081764" y="1106816"/>
            <a:ext cx="1771880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88900" lvl="1" indent="-88900">
              <a:spcBef>
                <a:spcPts val="200"/>
              </a:spcBef>
            </a:pPr>
            <a:r>
              <a:rPr lang="kk-KZ" sz="100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Опубликованы</a:t>
            </a:r>
            <a:r>
              <a:rPr lang="ru-RU" sz="100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 видеоролики</a:t>
            </a:r>
          </a:p>
        </p:txBody>
      </p:sp>
      <p:pic>
        <p:nvPicPr>
          <p:cNvPr id="59" name="Рисунок 58">
            <a:extLst>
              <a:ext uri="{FF2B5EF4-FFF2-40B4-BE49-F238E27FC236}">
                <a16:creationId xmlns="" xmlns:a16="http://schemas.microsoft.com/office/drawing/2014/main" id="{3EAE087F-D708-9020-4E26-6ACAA03B73F2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/>
          <a:srcRect l="53147" t="4291" r="3329" b="41142"/>
          <a:stretch/>
        </p:blipFill>
        <p:spPr>
          <a:xfrm>
            <a:off x="5163194" y="1420693"/>
            <a:ext cx="1160274" cy="644863"/>
          </a:xfrm>
          <a:prstGeom prst="rect">
            <a:avLst/>
          </a:prstGeom>
          <a:ln w="889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BA52913E-6A77-05FD-1F31-1FED075A8CE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081764" y="2273343"/>
            <a:ext cx="1771880" cy="3231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88900" lvl="1" indent="-88900">
              <a:spcBef>
                <a:spcPts val="200"/>
              </a:spcBef>
            </a:pPr>
            <a:r>
              <a:rPr lang="kk-KZ" sz="105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В процессе </a:t>
            </a:r>
            <a:r>
              <a:rPr lang="kk-KZ" sz="1050" b="1" dirty="0" smtClean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производства</a:t>
            </a:r>
            <a:endParaRPr lang="kk-KZ" sz="1050" b="1" dirty="0">
              <a:solidFill>
                <a:srgbClr val="0070C0"/>
              </a:solidFill>
              <a:latin typeface="Nunito Sans"/>
              <a:cs typeface="Segoe UI Light" panose="020B0502040204020203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77CD925D-E291-2193-5752-F3F4EE03B7B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081764" y="3188891"/>
            <a:ext cx="1771880" cy="43858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88900" lvl="1" indent="-88900">
              <a:spcBef>
                <a:spcPts val="200"/>
              </a:spcBef>
            </a:pPr>
            <a:r>
              <a:rPr lang="kk-KZ" sz="105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Обучено</a:t>
            </a:r>
            <a:br>
              <a:rPr lang="kk-KZ" sz="105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</a:br>
            <a:r>
              <a:rPr lang="kk-KZ" sz="1800" b="1" dirty="0">
                <a:solidFill>
                  <a:srgbClr val="FFC000"/>
                </a:solidFill>
                <a:latin typeface="Nunito Sans"/>
                <a:cs typeface="Segoe UI Light" panose="020B0502040204020203" pitchFamily="34" charset="0"/>
              </a:rPr>
              <a:t>50</a:t>
            </a:r>
            <a:r>
              <a:rPr lang="kk-KZ" sz="1050" b="1" dirty="0">
                <a:solidFill>
                  <a:srgbClr val="FFC000"/>
                </a:solidFill>
                <a:latin typeface="Nunito Sans"/>
                <a:cs typeface="Segoe UI Light" panose="020B0502040204020203" pitchFamily="34" charset="0"/>
              </a:rPr>
              <a:t> работников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2480A950-3637-5EC0-4AE8-F04031108B61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081764" y="3986807"/>
            <a:ext cx="1771880" cy="43858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88900" lvl="1" indent="-88900">
              <a:spcBef>
                <a:spcPts val="200"/>
              </a:spcBef>
            </a:pPr>
            <a:r>
              <a:rPr lang="kk-KZ" sz="1050" b="1" dirty="0" smtClean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Обучено </a:t>
            </a:r>
            <a:r>
              <a:rPr lang="kk-KZ" sz="105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/>
            </a:r>
            <a:br>
              <a:rPr lang="kk-KZ" sz="105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</a:br>
            <a:r>
              <a:rPr lang="kk-KZ" sz="1800" b="1" dirty="0">
                <a:solidFill>
                  <a:srgbClr val="FFC000"/>
                </a:solidFill>
                <a:latin typeface="Nunito Sans"/>
                <a:cs typeface="Segoe UI Light" panose="020B0502040204020203" pitchFamily="34" charset="0"/>
              </a:rPr>
              <a:t>30</a:t>
            </a:r>
            <a:r>
              <a:rPr lang="kk-KZ" sz="1050" b="1" dirty="0">
                <a:solidFill>
                  <a:srgbClr val="FFC000"/>
                </a:solidFill>
                <a:latin typeface="Nunito Sans"/>
                <a:cs typeface="Segoe UI Light" panose="020B0502040204020203" pitchFamily="34" charset="0"/>
              </a:rPr>
              <a:t> работников</a:t>
            </a:r>
          </a:p>
        </p:txBody>
      </p:sp>
      <p:grpSp>
        <p:nvGrpSpPr>
          <p:cNvPr id="10" name="Группа 69">
            <a:extLst>
              <a:ext uri="{FF2B5EF4-FFF2-40B4-BE49-F238E27FC236}">
                <a16:creationId xmlns="" xmlns:a16="http://schemas.microsoft.com/office/drawing/2014/main" id="{6A6B7288-14D7-C8BB-58D2-54EC0C7EFF38}"/>
              </a:ext>
            </a:extLst>
          </p:cNvPr>
          <p:cNvGrpSpPr/>
          <p:nvPr/>
        </p:nvGrpSpPr>
        <p:grpSpPr>
          <a:xfrm>
            <a:off x="7739284" y="1183606"/>
            <a:ext cx="879045" cy="866629"/>
            <a:chOff x="7607472" y="1140748"/>
            <a:chExt cx="968910" cy="1134087"/>
          </a:xfrm>
        </p:grpSpPr>
        <p:pic>
          <p:nvPicPr>
            <p:cNvPr id="64" name="Рисунок 13">
              <a:extLst>
                <a:ext uri="{FF2B5EF4-FFF2-40B4-BE49-F238E27FC236}">
                  <a16:creationId xmlns="" xmlns:a16="http://schemas.microsoft.com/office/drawing/2014/main" id="{555392F4-713D-7920-F7BF-F16A117616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7472" y="1140748"/>
              <a:ext cx="968910" cy="814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="" xmlns:a16="http://schemas.microsoft.com/office/drawing/2014/main" id="{90E6E06D-4255-8283-3A46-F158432EAAFD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7607472" y="1992901"/>
              <a:ext cx="968910" cy="28193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lang="ru-RU" sz="1200" baseline="0" dirty="0">
                  <a:latin typeface="+mn-lt"/>
                </a:defRPr>
              </a:lvl1pPr>
              <a:lvl2pPr marL="198000" lvl="1" indent="-198000" defTabSz="685122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ru-RU" sz="1200" baseline="0" dirty="0">
                  <a:latin typeface="+mn-lt"/>
                </a:defRPr>
              </a:lvl2pPr>
              <a:lvl3pPr marL="396000" lvl="2" indent="-198000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ru-RU" sz="1200" baseline="0" dirty="0">
                  <a:latin typeface="+mn-lt"/>
                </a:defRPr>
              </a:lvl3pPr>
              <a:lvl4pPr marL="594000" lvl="3" indent="-198000" defTabSz="685122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lang="ru-RU" sz="1200" baseline="0" dirty="0">
                  <a:latin typeface="+mn-lt"/>
                </a:defRPr>
              </a:lvl4pPr>
              <a:lvl5pPr marL="792000" lvl="4" indent="-19800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ru-RU" sz="1200" baseline="0" dirty="0">
                  <a:latin typeface="+mn-lt"/>
                </a:defRPr>
              </a:lvl5pPr>
              <a:lvl6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marL="0" lvl="1" indent="0" algn="ctr">
                <a:spcBef>
                  <a:spcPts val="200"/>
                </a:spcBef>
                <a:buNone/>
              </a:pPr>
              <a:r>
                <a:rPr lang="ru-RU" sz="1400" b="1" dirty="0">
                  <a:solidFill>
                    <a:srgbClr val="0070C0"/>
                  </a:solidFill>
                  <a:latin typeface="Nunito Sans"/>
                  <a:cs typeface="Segoe UI Light" panose="020B0502040204020203" pitchFamily="34" charset="0"/>
                </a:rPr>
                <a:t>ПРООН</a:t>
              </a:r>
              <a:endParaRPr lang="kk-KZ" sz="140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Группа 68">
            <a:extLst>
              <a:ext uri="{FF2B5EF4-FFF2-40B4-BE49-F238E27FC236}">
                <a16:creationId xmlns="" xmlns:a16="http://schemas.microsoft.com/office/drawing/2014/main" id="{CA1BBB2A-2DB7-66B0-552F-3FEFB200F82A}"/>
              </a:ext>
            </a:extLst>
          </p:cNvPr>
          <p:cNvGrpSpPr/>
          <p:nvPr/>
        </p:nvGrpSpPr>
        <p:grpSpPr>
          <a:xfrm>
            <a:off x="7703347" y="3212329"/>
            <a:ext cx="986534" cy="1089430"/>
            <a:chOff x="7598660" y="2801726"/>
            <a:chExt cx="986534" cy="1089430"/>
          </a:xfrm>
        </p:grpSpPr>
        <p:pic>
          <p:nvPicPr>
            <p:cNvPr id="63" name="Picture 8">
              <a:extLst>
                <a:ext uri="{FF2B5EF4-FFF2-40B4-BE49-F238E27FC236}">
                  <a16:creationId xmlns="" xmlns:a16="http://schemas.microsoft.com/office/drawing/2014/main" id="{3232D913-00D7-FB8B-E586-852238A783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1264" t="3815" r="31264"/>
            <a:stretch>
              <a:fillRect/>
            </a:stretch>
          </p:blipFill>
          <p:spPr bwMode="auto">
            <a:xfrm>
              <a:off x="7598660" y="2801726"/>
              <a:ext cx="986534" cy="889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CA66C4F6-57F2-ABCF-31F1-C67B7870711A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7607472" y="3675712"/>
              <a:ext cx="968910" cy="21544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lang="ru-RU" sz="1200" baseline="0" dirty="0">
                  <a:latin typeface="+mn-lt"/>
                </a:defRPr>
              </a:lvl1pPr>
              <a:lvl2pPr marL="198000" lvl="1" indent="-198000" defTabSz="685122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ru-RU" sz="1200" baseline="0" dirty="0">
                  <a:latin typeface="+mn-lt"/>
                </a:defRPr>
              </a:lvl2pPr>
              <a:lvl3pPr marL="396000" lvl="2" indent="-198000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ru-RU" sz="1200" baseline="0" dirty="0">
                  <a:latin typeface="+mn-lt"/>
                </a:defRPr>
              </a:lvl3pPr>
              <a:lvl4pPr marL="594000" lvl="3" indent="-198000" defTabSz="685122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lang="ru-RU" sz="1200" baseline="0" dirty="0">
                  <a:latin typeface="+mn-lt"/>
                </a:defRPr>
              </a:lvl4pPr>
              <a:lvl5pPr marL="792000" lvl="4" indent="-19800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ru-RU" sz="1200" baseline="0" dirty="0">
                  <a:latin typeface="+mn-lt"/>
                </a:defRPr>
              </a:lvl5pPr>
              <a:lvl6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marL="0" lvl="1" indent="0" algn="ctr">
                <a:spcBef>
                  <a:spcPts val="200"/>
                </a:spcBef>
                <a:buNone/>
              </a:pPr>
              <a:r>
                <a:rPr lang="ru-RU" sz="1400" b="1" dirty="0">
                  <a:solidFill>
                    <a:srgbClr val="0070C0"/>
                  </a:solidFill>
                  <a:latin typeface="Nunito Sans"/>
                  <a:cs typeface="Segoe UI Light" panose="020B0502040204020203" pitchFamily="34" charset="0"/>
                </a:rPr>
                <a:t>АБР</a:t>
              </a:r>
              <a:endParaRPr lang="kk-KZ" sz="1400" b="1" dirty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endParaRPr>
            </a:p>
          </p:txBody>
        </p:sp>
      </p:grpSp>
      <p:cxnSp>
        <p:nvCxnSpPr>
          <p:cNvPr id="67" name="Straight Connector 318">
            <a:extLst>
              <a:ext uri="{FF2B5EF4-FFF2-40B4-BE49-F238E27FC236}">
                <a16:creationId xmlns="" xmlns:a16="http://schemas.microsoft.com/office/drawing/2014/main" id="{B64A493B-F835-3F22-2516-DEEE1FE3B1F5}"/>
              </a:ext>
            </a:extLst>
          </p:cNvPr>
          <p:cNvCxnSpPr>
            <a:cxnSpLocks/>
          </p:cNvCxnSpPr>
          <p:nvPr/>
        </p:nvCxnSpPr>
        <p:spPr>
          <a:xfrm>
            <a:off x="7355063" y="3035791"/>
            <a:ext cx="1646767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cxnSp>
        <p:nvCxnSpPr>
          <p:cNvPr id="50" name="Straight Connector 318">
            <a:extLst>
              <a:ext uri="{FF2B5EF4-FFF2-40B4-BE49-F238E27FC236}">
                <a16:creationId xmlns="" xmlns:a16="http://schemas.microsoft.com/office/drawing/2014/main" id="{F72F567F-AB1D-CB2A-27AF-EC6F046AD2AE}"/>
              </a:ext>
            </a:extLst>
          </p:cNvPr>
          <p:cNvCxnSpPr>
            <a:cxnSpLocks/>
          </p:cNvCxnSpPr>
          <p:nvPr/>
        </p:nvCxnSpPr>
        <p:spPr>
          <a:xfrm>
            <a:off x="135695" y="553800"/>
            <a:ext cx="8875745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</a:ln>
          <a:effectLst/>
        </p:spPr>
      </p:cxnSp>
      <p:sp>
        <p:nvSpPr>
          <p:cNvPr id="58" name="Rectangle 11">
            <a:extLst>
              <a:ext uri="{FF2B5EF4-FFF2-40B4-BE49-F238E27FC236}">
                <a16:creationId xmlns="" xmlns:a16="http://schemas.microsoft.com/office/drawing/2014/main" id="{1D01140D-C9D5-B6EF-41CE-7A8E116C0613}"/>
              </a:ext>
            </a:extLst>
          </p:cNvPr>
          <p:cNvSpPr txBox="1">
            <a:spLocks/>
          </p:cNvSpPr>
          <p:nvPr/>
        </p:nvSpPr>
        <p:spPr>
          <a:xfrm>
            <a:off x="194171" y="114355"/>
            <a:ext cx="414000" cy="41343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algn="ctr">
              <a:buClr>
                <a:schemeClr val="bg2"/>
              </a:buClr>
              <a:buNone/>
            </a:pPr>
            <a:r>
              <a:rPr lang="kk-KZ" sz="2800" b="1" dirty="0" smtClean="0">
                <a:solidFill>
                  <a:schemeClr val="lt1"/>
                </a:solidFill>
                <a:latin typeface="Nunito Sans"/>
                <a:cs typeface="Segoe UI" panose="020B0502040204020203" pitchFamily="34" charset="0"/>
              </a:rPr>
              <a:t>3</a:t>
            </a:r>
            <a:endParaRPr lang="ru-RU" sz="2800" b="1" dirty="0">
              <a:solidFill>
                <a:schemeClr val="lt1"/>
              </a:solidFill>
              <a:latin typeface="Nunito Sans"/>
              <a:cs typeface="Segoe UI" panose="020B0502040204020203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7790828" y="2078749"/>
            <a:ext cx="760499" cy="692926"/>
          </a:xfrm>
          <a:prstGeom prst="rect">
            <a:avLst/>
          </a:prstGeom>
          <a:blipFill rotWithShape="1">
            <a:blip r:embed="rId20"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90E6E06D-4255-8283-3A46-F158432EAAF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7762030" y="2797337"/>
            <a:ext cx="879045" cy="2154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0" lvl="1" indent="0" algn="ctr">
              <a:spcBef>
                <a:spcPts val="200"/>
              </a:spcBef>
              <a:buNone/>
            </a:pPr>
            <a:r>
              <a:rPr lang="ru-RU" sz="1400" b="1" dirty="0" smtClean="0">
                <a:solidFill>
                  <a:srgbClr val="0070C0"/>
                </a:solidFill>
                <a:latin typeface="Nunito Sans"/>
                <a:cs typeface="Segoe UI Light" panose="020B0502040204020203" pitchFamily="34" charset="0"/>
              </a:rPr>
              <a:t>КазНУ</a:t>
            </a:r>
            <a:endParaRPr lang="kk-KZ" sz="1400" b="1" dirty="0">
              <a:solidFill>
                <a:srgbClr val="0070C0"/>
              </a:solidFill>
              <a:latin typeface="Nunito Sans"/>
              <a:cs typeface="Segoe UI Light" panose="020B0502040204020203" pitchFamily="34" charset="0"/>
            </a:endParaRPr>
          </a:p>
        </p:txBody>
      </p:sp>
      <p:sp>
        <p:nvSpPr>
          <p:cNvPr id="70" name="Заголовок 5">
            <a:extLst>
              <a:ext uri="{FF2B5EF4-FFF2-40B4-BE49-F238E27FC236}">
                <a16:creationId xmlns="" xmlns:a16="http://schemas.microsoft.com/office/drawing/2014/main" id="{528CA4EA-4A79-DE62-B6B4-FE7A4A09F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266" y="186452"/>
            <a:ext cx="5897603" cy="332163"/>
          </a:xfrm>
          <a:ln>
            <a:noFill/>
          </a:ln>
        </p:spPr>
        <p:txBody>
          <a:bodyPr/>
          <a:lstStyle/>
          <a:p>
            <a:r>
              <a:rPr lang="ru-RU" sz="2000" b="1" dirty="0" smtClean="0">
                <a:solidFill>
                  <a:srgbClr val="FFC000"/>
                </a:solidFill>
                <a:latin typeface="Nunito Sans"/>
              </a:rPr>
              <a:t>ИНИЦИАТИВА DATA LITERACY</a:t>
            </a:r>
            <a:br>
              <a:rPr lang="ru-RU" sz="2000" b="1" dirty="0" smtClean="0">
                <a:solidFill>
                  <a:srgbClr val="FFC000"/>
                </a:solidFill>
                <a:latin typeface="Nunito Sans"/>
              </a:rPr>
            </a:br>
            <a:endParaRPr lang="ru-RU" sz="2000" b="1" dirty="0">
              <a:solidFill>
                <a:srgbClr val="FFC000"/>
              </a:solidFill>
              <a:latin typeface="Nunito Sans"/>
            </a:endParaRPr>
          </a:p>
        </p:txBody>
      </p:sp>
      <p:pic>
        <p:nvPicPr>
          <p:cNvPr id="46" name="object 13"/>
          <p:cNvPicPr/>
          <p:nvPr/>
        </p:nvPicPr>
        <p:blipFill>
          <a:blip r:embed="rId21" cstate="print"/>
          <a:stretch>
            <a:fillRect/>
          </a:stretch>
        </p:blipFill>
        <p:spPr>
          <a:xfrm>
            <a:off x="8609604" y="29485"/>
            <a:ext cx="498766" cy="51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32531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NEWNAMES2" val="True"/>
  <p:tag name="PREVIOUSNAME" val="C:\Users\Alexey Starygin\Documents\Clients\Government of concrete deeds\20190309_KZ_Economic development_LOP v7.pptx"/>
  <p:tag name="TEMPLATECREATED" val="2019-04-01 06:14 PM"/>
  <p:tag name="TEMPLATELASTEDITED" val="2019-04-01 09:18 PM"/>
  <p:tag name="MTBTACCENT" val="Text2ColorBoldText"/>
  <p:tag name="THINKCELLPRESENTATIONDONOTDELETE" val="&lt;?xml version=&quot;1.0&quot; encoding=&quot;UTF-16&quot; standalone=&quot;yes&quot;?&gt;&lt;root reqver=&quot;24162&quot;&gt;&lt;version val=&quot;270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1&quot;&gt;&lt;elem m_fUsage=&quot;2.72405767905351048341E+00&quot;&gt;&lt;m_msothmcolidx val=&quot;0&quot;/&gt;&lt;m_rgb r=&quot;D8&quot; g=&quot;D8&quot; b=&quot;D8&quot;/&gt;&lt;m_nBrightness tagver0=&quot;26206&quot; tagname0=&quot;m_nBrightnessUNRECOGNIZED&quot; val=&quot;0&quot;/&gt;&lt;/elem&gt;&lt;elem m_fUsage=&quot;2.00941898913151284489E+00&quot;&gt;&lt;m_msothmcolidx val=&quot;0&quot;/&gt;&lt;m_rgb r=&quot;CD&quot; g=&quot;20&quot; b=&quot;2C&quot;/&gt;&lt;m_nBrightness tagver0=&quot;26206&quot; tagname0=&quot;m_nBrightnessUNRECOGNIZED&quot; val=&quot;0&quot;/&gt;&lt;/elem&gt;&lt;elem m_fUsage=&quot;1.26044100000000014461E+00&quot;&gt;&lt;m_msothmcolidx val=&quot;0&quot;/&gt;&lt;m_rgb r=&quot;98&quot; g=&quot;E0&quot; b=&quot;F8&quot;/&gt;&lt;m_nBrightness tagver0=&quot;26206&quot; tagname0=&quot;m_nBrightnessUNRECOGNIZED&quot; val=&quot;0&quot;/&gt;&lt;/elem&gt;&lt;elem m_fUsage=&quot;1.24659000000000008690E+00&quot;&gt;&lt;m_msothmcolidx val=&quot;0&quot;/&gt;&lt;m_rgb r=&quot;62&quot; g=&quot;F0&quot; b=&quot;E2&quot;/&gt;&lt;m_nBrightness tagver0=&quot;26206&quot; tagname0=&quot;m_nBrightnessUNRECOGNIZED&quot; val=&quot;0&quot;/&gt;&lt;/elem&gt;&lt;elem m_fUsage=&quot;8.10000000000000053291E-01&quot;&gt;&lt;m_msothmcolidx val=&quot;0&quot;/&gt;&lt;m_rgb r=&quot;AF&quot; g=&quot;E8&quot; b=&quot;FA&quot;/&gt;&lt;m_nBrightness tagver0=&quot;26206&quot; tagname0=&quot;m_nBrightnessUNRECOGNIZED&quot; val=&quot;0&quot;/&gt;&lt;/elem&gt;&lt;elem m_fUsage=&quot;3.45291207554393686507E-01&quot;&gt;&lt;m_msothmcolidx val=&quot;0&quot;/&gt;&lt;m_rgb r=&quot;66&quot; g=&quot;66&quot; b=&quot;66&quot;/&gt;&lt;m_nBrightness tagver0=&quot;26206&quot; tagname0=&quot;m_nBrightnessUNRECOGNIZED&quot; val=&quot;0&quot;/&gt;&lt;/elem&gt;&lt;elem m_fUsage=&quot;2.05891132094649098594E-01&quot;&gt;&lt;m_msothmcolidx val=&quot;0&quot;/&gt;&lt;m_rgb r=&quot;BA&quot; g=&quot;E1&quot; b=&quot;FF&quot;/&gt;&lt;m_nBrightness tagver0=&quot;26206&quot; tagname0=&quot;m_nBrightnessUNRECOGNIZED&quot; val=&quot;0&quot;/&gt;&lt;/elem&gt;&lt;elem m_fUsage=&quot;1.85302018885184188735E-01&quot;&gt;&lt;m_msothmcolidx val=&quot;0&quot;/&gt;&lt;m_rgb r=&quot;8E&quot; g=&quot;DD&quot; b=&quot;F7&quot;/&gt;&lt;m_nBrightness tagver0=&quot;26206&quot; tagname0=&quot;m_nBrightnessUNRECOGNIZED&quot; val=&quot;0&quot;/&gt;&lt;/elem&gt;&lt;elem m_fUsage=&quot;1.66771816996665767086E-01&quot;&gt;&lt;m_msothmcolidx val=&quot;0&quot;/&gt;&lt;m_rgb r=&quot;63&quot; g=&quot;7A&quot; b=&quot;93&quot;/&gt;&lt;m_nBrightness tagver0=&quot;26206&quot; tagname0=&quot;m_nBrightnessUNRECOGNIZED&quot; val=&quot;0&quot;/&gt;&lt;/elem&gt;&lt;elem m_fUsage=&quot;1.50094635296999207030E-01&quot;&gt;&lt;m_msothmcolidx val=&quot;0&quot;/&gt;&lt;m_rgb r=&quot;F2&quot; g=&quot;7F&quot; b=&quot;00&quot;/&gt;&lt;m_nBrightness tagver0=&quot;26206&quot; tagname0=&quot;m_nBrightnessUNRECOGNIZED&quot; val=&quot;0&quot;/&gt;&lt;/elem&gt;&lt;elem m_fUsage=&quot;9.84770902183611934744E-02&quot;&gt;&lt;m_msothmcolidx val=&quot;0&quot;/&gt;&lt;m_rgb r=&quot;A3&quot; g=&quot;B3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k7HJihEmDxCQM8zMbf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k7HJihEmDxCQM8zMbf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k7HJihEmDxCQM8zMbf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k7HJihEmDxCQM8zMbf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k7HJihEmDxCQM8zMbf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k7HJihEmDxCQM8zMbf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k7HJihEmDxCQM8zMbf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k7HJihEmDxCQM8zMb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heme/theme1.xml><?xml version="1.0" encoding="utf-8"?>
<a:theme xmlns:a="http://schemas.openxmlformats.org/drawingml/2006/main" name="3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Kazakhstan 16x9.potx" id="{536AC80A-2F72-4EEC-A66F-142D9D72648C}" vid="{7A66F999-64FD-424D-9E90-26224081744D}"/>
    </a:ext>
  </a:extLst>
</a:theme>
</file>

<file path=ppt/theme/theme10.xml><?xml version="1.0" encoding="utf-8"?>
<a:theme xmlns:a="http://schemas.openxmlformats.org/drawingml/2006/main" name="5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Kazakhstan 16x9.potx" id="{536AC80A-2F72-4EEC-A66F-142D9D72648C}" vid="{7A66F999-64FD-424D-9E90-26224081744D}"/>
    </a:ext>
  </a:extLst>
</a:theme>
</file>

<file path=ppt/theme/theme11.xml><?xml version="1.0" encoding="utf-8"?>
<a:theme xmlns:a="http://schemas.openxmlformats.org/drawingml/2006/main" name="2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3F329696-C51C-4DA1-8F63-3A8E130F9BA7}" vid="{FECB3D48-C27E-4017-8EB9-276E3244A451}"/>
    </a:ext>
  </a:extLst>
</a:theme>
</file>

<file path=ppt/theme/theme12.xml><?xml version="1.0" encoding="utf-8"?>
<a:theme xmlns:a="http://schemas.openxmlformats.org/drawingml/2006/main" name="6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Kazakhstan 16x9.potx" id="{536AC80A-2F72-4EEC-A66F-142D9D72648C}" vid="{7A66F999-64FD-424D-9E90-26224081744D}"/>
    </a:ext>
  </a:extLst>
</a:theme>
</file>

<file path=ppt/theme/theme13.xml><?xml version="1.0" encoding="utf-8"?>
<a:theme xmlns:a="http://schemas.openxmlformats.org/drawingml/2006/main" name="1_Тема Office">
  <a:themeElements>
    <a:clrScheme name="БН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C490AA"/>
      </a:accent6>
      <a:hlink>
        <a:srgbClr val="0563C1"/>
      </a:hlink>
      <a:folHlink>
        <a:srgbClr val="F7CBAC"/>
      </a:folHlink>
    </a:clrScheme>
    <a:fontScheme name="БНС">
      <a:majorFont>
        <a:latin typeface="Nunito Sans"/>
        <a:ea typeface=""/>
        <a:cs typeface=""/>
      </a:majorFont>
      <a:minorFont>
        <a:latin typeface="Nunito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8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Kazakhstan 16x9.potx" id="{536AC80A-2F72-4EEC-A66F-142D9D72648C}" vid="{7A66F999-64FD-424D-9E90-26224081744D}"/>
    </a:ext>
  </a:extLst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2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Kazakhstan 16x9.potx" id="{536AC80A-2F72-4EEC-A66F-142D9D72648C}" vid="{7A66F999-64FD-424D-9E90-26224081744D}"/>
    </a:ext>
  </a:extLst>
</a:theme>
</file>

<file path=ppt/theme/theme3.xml><?xml version="1.0" encoding="utf-8"?>
<a:theme xmlns:a="http://schemas.openxmlformats.org/drawingml/2006/main" name="7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Kazakhstan 16x9.potx" id="{536AC80A-2F72-4EEC-A66F-142D9D72648C}" vid="{7A66F999-64FD-424D-9E90-26224081744D}"/>
    </a:ext>
  </a:extLst>
</a:theme>
</file>

<file path=ppt/theme/theme4.xml><?xml version="1.0" encoding="utf-8"?>
<a:theme xmlns:a="http://schemas.openxmlformats.org/drawingml/2006/main" name="1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3F329696-C51C-4DA1-8F63-3A8E130F9BA7}" vid="{FECB3D48-C27E-4017-8EB9-276E3244A451}"/>
    </a:ext>
  </a:extLst>
</a:theme>
</file>

<file path=ppt/theme/theme5.xml><?xml version="1.0" encoding="utf-8"?>
<a:theme xmlns:a="http://schemas.openxmlformats.org/drawingml/2006/main" name="19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3F329696-C51C-4DA1-8F63-3A8E130F9BA7}" vid="{FECB3D48-C27E-4017-8EB9-276E3244A451}"/>
    </a:ext>
  </a:extLst>
</a:theme>
</file>

<file path=ppt/theme/theme6.xml><?xml version="1.0" encoding="utf-8"?>
<a:theme xmlns:a="http://schemas.openxmlformats.org/drawingml/2006/main" name="20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KZ">
      <a:majorFont>
        <a:latin typeface="Segoe UI Black"/>
        <a:ea typeface="ＭＳ Ｐゴシック"/>
        <a:cs typeface=""/>
      </a:majorFont>
      <a:minorFont>
        <a:latin typeface="Segoe UI 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Baseform_MSW_4x3.potx" id="{C56514F7-67AD-450E-B572-0C50D0AF1509}" vid="{7CC19030-A8AE-402F-9023-FE9C893D7F2D}"/>
    </a:ext>
  </a:extLst>
</a:theme>
</file>

<file path=ppt/theme/theme7.xml><?xml version="1.0" encoding="utf-8"?>
<a:theme xmlns:a="http://schemas.openxmlformats.org/drawingml/2006/main" name="4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Kazakhstan 16x9.potx" id="{536AC80A-2F72-4EEC-A66F-142D9D72648C}" vid="{7A66F999-64FD-424D-9E90-26224081744D}"/>
    </a:ext>
  </a:extLst>
</a:theme>
</file>

<file path=ppt/theme/theme8.xml><?xml version="1.0" encoding="utf-8"?>
<a:theme xmlns:a="http://schemas.openxmlformats.org/drawingml/2006/main" name="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KZ">
      <a:majorFont>
        <a:latin typeface="Segoe UI Black"/>
        <a:ea typeface="ＭＳ Ｐゴシック"/>
        <a:cs typeface=""/>
      </a:majorFont>
      <a:minorFont>
        <a:latin typeface="Segoe UI 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Baseform_MSW_4x3.potx" id="{C56514F7-67AD-450E-B572-0C50D0AF1509}" vid="{7CC19030-A8AE-402F-9023-FE9C893D7F2D}"/>
    </a:ext>
  </a:extLst>
</a:theme>
</file>

<file path=ppt/theme/theme9.xml><?xml version="1.0" encoding="utf-8"?>
<a:theme xmlns:a="http://schemas.openxmlformats.org/drawingml/2006/main" name="1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KZ">
      <a:majorFont>
        <a:latin typeface="Segoe UI Black"/>
        <a:ea typeface="ＭＳ Ｐゴシック"/>
        <a:cs typeface=""/>
      </a:majorFont>
      <a:minorFont>
        <a:latin typeface="Segoe UI 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Baseform_MSW_4x3.potx" id="{C56514F7-67AD-450E-B572-0C50D0AF1509}" vid="{7CC19030-A8AE-402F-9023-FE9C893D7F2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55</Words>
  <Application>Microsoft Office PowerPoint</Application>
  <PresentationFormat>Экран (16:9)</PresentationFormat>
  <Paragraphs>142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8" baseType="lpstr">
      <vt:lpstr>3_Firm Format - template_Blue</vt:lpstr>
      <vt:lpstr>12_Firm Format - template_Blue</vt:lpstr>
      <vt:lpstr>7_Firm Format - template_Blue</vt:lpstr>
      <vt:lpstr>18_Firm Format - template_Blue</vt:lpstr>
      <vt:lpstr>19_Firm Format - template_Blue</vt:lpstr>
      <vt:lpstr>20_Firm Format - template_Blue</vt:lpstr>
      <vt:lpstr>4_Firm Format - template_Blue</vt:lpstr>
      <vt:lpstr>Firm Format - template_Blue</vt:lpstr>
      <vt:lpstr>1_Firm Format - template_Blue</vt:lpstr>
      <vt:lpstr>5_Firm Format - template_Blue</vt:lpstr>
      <vt:lpstr>21_Firm Format - template_Blue</vt:lpstr>
      <vt:lpstr>6_Firm Format - template_Blue</vt:lpstr>
      <vt:lpstr>1_Тема Office</vt:lpstr>
      <vt:lpstr>8_Firm Format - template_Blue</vt:lpstr>
      <vt:lpstr>think-cell Slide</vt:lpstr>
      <vt:lpstr>Слайд 0</vt:lpstr>
      <vt:lpstr>Слайд 1</vt:lpstr>
      <vt:lpstr>Слайд 2</vt:lpstr>
      <vt:lpstr>Слайд 3</vt:lpstr>
      <vt:lpstr>ВЗАИМОДЕЙСТВИЕ С ВУЗами РК</vt:lpstr>
      <vt:lpstr>ВЗАИМОДЕЙСТВИЕ С ВУЗами РК</vt:lpstr>
      <vt:lpstr>ВЗАИМОДЕЙСТВИЕ С ВУЗами РК</vt:lpstr>
      <vt:lpstr>ИНИЦИАТИВА DATA LITERACY </vt:lpstr>
      <vt:lpstr>ИНИЦИАТИВА DATA LITERACY </vt:lpstr>
      <vt:lpstr>ИНИЦИАТИВА DATA LITERACY </vt:lpstr>
      <vt:lpstr>Слайд 10</vt:lpstr>
      <vt:lpstr>Слайд 11</vt:lpstr>
      <vt:lpstr>Слайд 12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10-15T15:41:18Z</cp:lastPrinted>
  <dcterms:created xsi:type="dcterms:W3CDTF">2018-10-19T19:35:04Z</dcterms:created>
  <dcterms:modified xsi:type="dcterms:W3CDTF">2024-04-19T15:10:24Z</dcterms:modified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4-01 06:14 PM</vt:lpwstr>
  </property>
  <property fmtid="{D5CDD505-2E9C-101B-9397-08002B2CF9AE}" pid="3" name="TemplateLastEdited">
    <vt:lpwstr>2019-04-01 09:18 PM</vt:lpwstr>
  </property>
</Properties>
</file>